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8" r:id="rId1"/>
  </p:sldMasterIdLst>
  <p:notesMasterIdLst>
    <p:notesMasterId r:id="rId19"/>
  </p:notesMasterIdLst>
  <p:handoutMasterIdLst>
    <p:handoutMasterId r:id="rId20"/>
  </p:handoutMasterIdLst>
  <p:sldIdLst>
    <p:sldId id="257" r:id="rId2"/>
    <p:sldId id="260" r:id="rId3"/>
    <p:sldId id="330" r:id="rId4"/>
    <p:sldId id="8145" r:id="rId5"/>
    <p:sldId id="8147" r:id="rId6"/>
    <p:sldId id="8144" r:id="rId7"/>
    <p:sldId id="263" r:id="rId8"/>
    <p:sldId id="317" r:id="rId9"/>
    <p:sldId id="316" r:id="rId10"/>
    <p:sldId id="264" r:id="rId11"/>
    <p:sldId id="8149" r:id="rId12"/>
    <p:sldId id="8150" r:id="rId13"/>
    <p:sldId id="266" r:id="rId14"/>
    <p:sldId id="8152" r:id="rId15"/>
    <p:sldId id="269" r:id="rId16"/>
    <p:sldId id="8151" r:id="rId17"/>
    <p:sldId id="259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ristopher Levonyak" initials="CL" lastIdx="1" clrIdx="6">
    <p:extLst>
      <p:ext uri="{19B8F6BF-5375-455C-9EA6-DF929625EA0E}">
        <p15:presenceInfo xmlns:p15="http://schemas.microsoft.com/office/powerpoint/2012/main" userId="60wuAWXNAt+OCGjf0MkQ2d2Yw1Bm9mXL5CrHOy093Po=" providerId="None"/>
      </p:ext>
    </p:extLst>
  </p:cmAuthor>
  <p:cmAuthor id="1" name="Tom Carr" initials="TC" lastIdx="34" clrIdx="0">
    <p:extLst>
      <p:ext uri="{19B8F6BF-5375-455C-9EA6-DF929625EA0E}">
        <p15:presenceInfo xmlns:p15="http://schemas.microsoft.com/office/powerpoint/2012/main" userId="S::tomc@vaniamgroup.com::80f382c9-719e-4101-9a73-cc7deefae33c" providerId="AD"/>
      </p:ext>
    </p:extLst>
  </p:cmAuthor>
  <p:cmAuthor id="8" name="Michelle Arroyo" initials="MA [2]" lastIdx="1" clrIdx="7">
    <p:extLst>
      <p:ext uri="{19B8F6BF-5375-455C-9EA6-DF929625EA0E}">
        <p15:presenceInfo xmlns:p15="http://schemas.microsoft.com/office/powerpoint/2012/main" userId="umVrHTNQdHDLSgqLYNsh10b4xMXp9b1S/RqfjjrwGtQ=" providerId="None"/>
      </p:ext>
    </p:extLst>
  </p:cmAuthor>
  <p:cmAuthor id="2" name="Lee Lindsey" initials="LL" lastIdx="65" clrIdx="1">
    <p:extLst>
      <p:ext uri="{19B8F6BF-5375-455C-9EA6-DF929625EA0E}">
        <p15:presenceInfo xmlns:p15="http://schemas.microsoft.com/office/powerpoint/2012/main" userId="S::lee@vaniamgroup.com::2cf76fc6-61ed-43fd-adf4-226a15d31a4c" providerId="AD"/>
      </p:ext>
    </p:extLst>
  </p:cmAuthor>
  <p:cmAuthor id="9" name="Chloe Dunnam" initials="CD" lastIdx="1" clrIdx="8">
    <p:extLst>
      <p:ext uri="{19B8F6BF-5375-455C-9EA6-DF929625EA0E}">
        <p15:presenceInfo xmlns:p15="http://schemas.microsoft.com/office/powerpoint/2012/main" userId="S::chloe@vaniamgroup.com::eaf0bd76-00ec-452a-a290-60865cc361c8" providerId="AD"/>
      </p:ext>
    </p:extLst>
  </p:cmAuthor>
  <p:cmAuthor id="3" name="Jenna Scillitani" initials="JS" lastIdx="1" clrIdx="2">
    <p:extLst>
      <p:ext uri="{19B8F6BF-5375-455C-9EA6-DF929625EA0E}">
        <p15:presenceInfo xmlns:p15="http://schemas.microsoft.com/office/powerpoint/2012/main" userId="01ZDhOaEkeWkmJYicHuu3G+rEAgI6VZSw7iESi23H3A=" providerId="None"/>
      </p:ext>
    </p:extLst>
  </p:cmAuthor>
  <p:cmAuthor id="4" name="Tara Anderson" initials="TA" lastIdx="1" clrIdx="3">
    <p:extLst>
      <p:ext uri="{19B8F6BF-5375-455C-9EA6-DF929625EA0E}">
        <p15:presenceInfo xmlns:p15="http://schemas.microsoft.com/office/powerpoint/2012/main" userId="S::tara@vaniamgroup.com::3c66a264-2df6-49b5-94ee-68793c4e917f" providerId="AD"/>
      </p:ext>
    </p:extLst>
  </p:cmAuthor>
  <p:cmAuthor id="5" name="Jim Owers" initials="JO" lastIdx="1" clrIdx="4">
    <p:extLst>
      <p:ext uri="{19B8F6BF-5375-455C-9EA6-DF929625EA0E}">
        <p15:presenceInfo xmlns:p15="http://schemas.microsoft.com/office/powerpoint/2012/main" userId="S::jim@vaniamgroupglobal.com::309f3039-dbfb-401c-a744-17e55abc1826" providerId="AD"/>
      </p:ext>
    </p:extLst>
  </p:cmAuthor>
  <p:cmAuthor id="6" name="Alison Smith" initials="AS" lastIdx="32" clrIdx="5">
    <p:extLst>
      <p:ext uri="{19B8F6BF-5375-455C-9EA6-DF929625EA0E}">
        <p15:presenceInfo xmlns:p15="http://schemas.microsoft.com/office/powerpoint/2012/main" userId="S::ali@vaniamgroup.com::a3873505-97f2-4a9c-9a91-431887c1cd0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1A26"/>
    <a:srgbClr val="FF4E00"/>
    <a:srgbClr val="194560"/>
    <a:srgbClr val="1798CE"/>
    <a:srgbClr val="95BE23"/>
    <a:srgbClr val="FFFFFF"/>
    <a:srgbClr val="C1D52F"/>
    <a:srgbClr val="DCF0F4"/>
    <a:srgbClr val="4AB5C7"/>
    <a:srgbClr val="66C5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AA687B-ED34-4CC0-9E4F-833AD0F0BDDA}" v="58" dt="2025-10-23T17:18:52.7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17" autoAdjust="0"/>
    <p:restoredTop sz="93379" autoAdjust="0"/>
  </p:normalViewPr>
  <p:slideViewPr>
    <p:cSldViewPr snapToGrid="0">
      <p:cViewPr varScale="1">
        <p:scale>
          <a:sx n="82" d="100"/>
          <a:sy n="82" d="100"/>
        </p:scale>
        <p:origin x="114" y="3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722"/>
    </p:cViewPr>
  </p:sorterViewPr>
  <p:notesViewPr>
    <p:cSldViewPr snapToGrid="0">
      <p:cViewPr varScale="1">
        <p:scale>
          <a:sx n="97" d="100"/>
          <a:sy n="97" d="100"/>
        </p:scale>
        <p:origin x="3120" y="200"/>
      </p:cViewPr>
      <p:guideLst/>
    </p:cSldViewPr>
  </p:notesViewPr>
  <p:gridSpacing cx="90001" cy="900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ely, Gregory" userId="8e9f1504-5205-4fae-b223-1d04dd54ed12" providerId="ADAL" clId="{66AA687B-ED34-4CC0-9E4F-833AD0F0BDDA}"/>
    <pc:docChg chg="undo custSel addSld delSld modSld">
      <pc:chgData name="Riely, Gregory" userId="8e9f1504-5205-4fae-b223-1d04dd54ed12" providerId="ADAL" clId="{66AA687B-ED34-4CC0-9E4F-833AD0F0BDDA}" dt="2025-10-23T17:18:17.948" v="2268" actId="14100"/>
      <pc:docMkLst>
        <pc:docMk/>
      </pc:docMkLst>
      <pc:sldChg chg="addSp delSp modSp new mod modClrScheme chgLayout">
        <pc:chgData name="Riely, Gregory" userId="8e9f1504-5205-4fae-b223-1d04dd54ed12" providerId="ADAL" clId="{66AA687B-ED34-4CC0-9E4F-833AD0F0BDDA}" dt="2025-10-23T17:05:58.564" v="1837" actId="403"/>
        <pc:sldMkLst>
          <pc:docMk/>
          <pc:sldMk cId="170092220" sldId="260"/>
        </pc:sldMkLst>
        <pc:spChg chg="add mod ord">
          <ac:chgData name="Riely, Gregory" userId="8e9f1504-5205-4fae-b223-1d04dd54ed12" providerId="ADAL" clId="{66AA687B-ED34-4CC0-9E4F-833AD0F0BDDA}" dt="2025-10-23T13:45:55.135" v="42" actId="20577"/>
          <ac:spMkLst>
            <pc:docMk/>
            <pc:sldMk cId="170092220" sldId="260"/>
            <ac:spMk id="2" creationId="{8F56F573-3F09-960A-E42B-E9D186C000FD}"/>
          </ac:spMkLst>
        </pc:spChg>
        <pc:spChg chg="del">
          <ac:chgData name="Riely, Gregory" userId="8e9f1504-5205-4fae-b223-1d04dd54ed12" providerId="ADAL" clId="{66AA687B-ED34-4CC0-9E4F-833AD0F0BDDA}" dt="2025-10-22T15:10:58.166" v="1" actId="700"/>
          <ac:spMkLst>
            <pc:docMk/>
            <pc:sldMk cId="170092220" sldId="260"/>
            <ac:spMk id="2" creationId="{D4414DA2-1B11-F0C8-83A3-CC3F7DC674F0}"/>
          </ac:spMkLst>
        </pc:spChg>
        <pc:spChg chg="del">
          <ac:chgData name="Riely, Gregory" userId="8e9f1504-5205-4fae-b223-1d04dd54ed12" providerId="ADAL" clId="{66AA687B-ED34-4CC0-9E4F-833AD0F0BDDA}" dt="2025-10-22T15:10:58.166" v="1" actId="700"/>
          <ac:spMkLst>
            <pc:docMk/>
            <pc:sldMk cId="170092220" sldId="260"/>
            <ac:spMk id="3" creationId="{13EEF958-39A2-EB5D-3187-D32D1575DD16}"/>
          </ac:spMkLst>
        </pc:spChg>
        <pc:spChg chg="add mod ord">
          <ac:chgData name="Riely, Gregory" userId="8e9f1504-5205-4fae-b223-1d04dd54ed12" providerId="ADAL" clId="{66AA687B-ED34-4CC0-9E4F-833AD0F0BDDA}" dt="2025-10-23T17:05:58.564" v="1837" actId="403"/>
          <ac:spMkLst>
            <pc:docMk/>
            <pc:sldMk cId="170092220" sldId="260"/>
            <ac:spMk id="3" creationId="{CC2C30BD-E41C-BA57-FE96-C58315CFDB2B}"/>
          </ac:spMkLst>
        </pc:spChg>
        <pc:spChg chg="add mod ord">
          <ac:chgData name="Riely, Gregory" userId="8e9f1504-5205-4fae-b223-1d04dd54ed12" providerId="ADAL" clId="{66AA687B-ED34-4CC0-9E4F-833AD0F0BDDA}" dt="2025-10-23T13:45:46.075" v="13" actId="700"/>
          <ac:spMkLst>
            <pc:docMk/>
            <pc:sldMk cId="170092220" sldId="260"/>
            <ac:spMk id="4" creationId="{6C5EDA0C-5E5F-CBE6-1E6F-EF55E99FF925}"/>
          </ac:spMkLst>
        </pc:spChg>
        <pc:spChg chg="add del">
          <ac:chgData name="Riely, Gregory" userId="8e9f1504-5205-4fae-b223-1d04dd54ed12" providerId="ADAL" clId="{66AA687B-ED34-4CC0-9E4F-833AD0F0BDDA}" dt="2025-10-23T13:46:06.143" v="44" actId="478"/>
          <ac:spMkLst>
            <pc:docMk/>
            <pc:sldMk cId="170092220" sldId="260"/>
            <ac:spMk id="5" creationId="{BA2AA992-AE7A-3643-B05B-19CE9A8424E5}"/>
          </ac:spMkLst>
        </pc:spChg>
        <pc:spChg chg="add mod ord">
          <ac:chgData name="Riely, Gregory" userId="8e9f1504-5205-4fae-b223-1d04dd54ed12" providerId="ADAL" clId="{66AA687B-ED34-4CC0-9E4F-833AD0F0BDDA}" dt="2025-10-23T13:45:46.075" v="13" actId="700"/>
          <ac:spMkLst>
            <pc:docMk/>
            <pc:sldMk cId="170092220" sldId="260"/>
            <ac:spMk id="6" creationId="{286A03F8-F103-6A69-6DA1-597DD33ACF93}"/>
          </ac:spMkLst>
        </pc:spChg>
      </pc:sldChg>
      <pc:sldChg chg="add del">
        <pc:chgData name="Riely, Gregory" userId="8e9f1504-5205-4fae-b223-1d04dd54ed12" providerId="ADAL" clId="{66AA687B-ED34-4CC0-9E4F-833AD0F0BDDA}" dt="2025-10-23T17:16:29.480" v="2257" actId="47"/>
        <pc:sldMkLst>
          <pc:docMk/>
          <pc:sldMk cId="212213917" sldId="261"/>
        </pc:sldMkLst>
      </pc:sldChg>
      <pc:sldChg chg="addSp modSp add del mod">
        <pc:chgData name="Riely, Gregory" userId="8e9f1504-5205-4fae-b223-1d04dd54ed12" providerId="ADAL" clId="{66AA687B-ED34-4CC0-9E4F-833AD0F0BDDA}" dt="2025-10-23T14:09:17.004" v="599" actId="47"/>
        <pc:sldMkLst>
          <pc:docMk/>
          <pc:sldMk cId="547304312" sldId="262"/>
        </pc:sldMkLst>
        <pc:picChg chg="add mod">
          <ac:chgData name="Riely, Gregory" userId="8e9f1504-5205-4fae-b223-1d04dd54ed12" providerId="ADAL" clId="{66AA687B-ED34-4CC0-9E4F-833AD0F0BDDA}" dt="2025-10-23T13:55:56.671" v="273"/>
          <ac:picMkLst>
            <pc:docMk/>
            <pc:sldMk cId="547304312" sldId="262"/>
            <ac:picMk id="3" creationId="{85EE69BA-5E65-DE16-275A-97E5442E820C}"/>
          </ac:picMkLst>
        </pc:picChg>
      </pc:sldChg>
      <pc:sldChg chg="addSp delSp modSp add mod">
        <pc:chgData name="Riely, Gregory" userId="8e9f1504-5205-4fae-b223-1d04dd54ed12" providerId="ADAL" clId="{66AA687B-ED34-4CC0-9E4F-833AD0F0BDDA}" dt="2025-10-23T13:56:20.737" v="299" actId="20577"/>
        <pc:sldMkLst>
          <pc:docMk/>
          <pc:sldMk cId="1227393544" sldId="263"/>
        </pc:sldMkLst>
        <pc:spChg chg="add del mod">
          <ac:chgData name="Riely, Gregory" userId="8e9f1504-5205-4fae-b223-1d04dd54ed12" providerId="ADAL" clId="{66AA687B-ED34-4CC0-9E4F-833AD0F0BDDA}" dt="2025-10-23T13:56:20.737" v="299" actId="20577"/>
          <ac:spMkLst>
            <pc:docMk/>
            <pc:sldMk cId="1227393544" sldId="263"/>
            <ac:spMk id="4" creationId="{091070ED-39C7-F98B-A6F5-165884214BB0}"/>
          </ac:spMkLst>
        </pc:spChg>
        <pc:spChg chg="add mod">
          <ac:chgData name="Riely, Gregory" userId="8e9f1504-5205-4fae-b223-1d04dd54ed12" providerId="ADAL" clId="{66AA687B-ED34-4CC0-9E4F-833AD0F0BDDA}" dt="2025-10-23T13:52:25.275" v="229" actId="1076"/>
          <ac:spMkLst>
            <pc:docMk/>
            <pc:sldMk cId="1227393544" sldId="263"/>
            <ac:spMk id="5" creationId="{4EADE73D-6B14-D09A-F5BB-7537A946D63D}"/>
          </ac:spMkLst>
        </pc:spChg>
        <pc:spChg chg="add del mod">
          <ac:chgData name="Riely, Gregory" userId="8e9f1504-5205-4fae-b223-1d04dd54ed12" providerId="ADAL" clId="{66AA687B-ED34-4CC0-9E4F-833AD0F0BDDA}" dt="2025-10-23T13:56:01.999" v="276" actId="478"/>
          <ac:spMkLst>
            <pc:docMk/>
            <pc:sldMk cId="1227393544" sldId="263"/>
            <ac:spMk id="6" creationId="{AD200D97-004B-4D34-9795-B60EBD5DFB53}"/>
          </ac:spMkLst>
        </pc:spChg>
        <pc:picChg chg="add del mod">
          <ac:chgData name="Riely, Gregory" userId="8e9f1504-5205-4fae-b223-1d04dd54ed12" providerId="ADAL" clId="{66AA687B-ED34-4CC0-9E4F-833AD0F0BDDA}" dt="2025-10-23T13:56:01.161" v="275" actId="478"/>
          <ac:picMkLst>
            <pc:docMk/>
            <pc:sldMk cId="1227393544" sldId="263"/>
            <ac:picMk id="3" creationId="{2F880D2B-59A2-741A-C4AD-4EF1DC59A2D0}"/>
          </ac:picMkLst>
        </pc:picChg>
        <pc:picChg chg="add mod">
          <ac:chgData name="Riely, Gregory" userId="8e9f1504-5205-4fae-b223-1d04dd54ed12" providerId="ADAL" clId="{66AA687B-ED34-4CC0-9E4F-833AD0F0BDDA}" dt="2025-10-23T13:56:10.170" v="284"/>
          <ac:picMkLst>
            <pc:docMk/>
            <pc:sldMk cId="1227393544" sldId="263"/>
            <ac:picMk id="8" creationId="{83B7003C-1E22-D160-4A8C-538315FE9DBF}"/>
          </ac:picMkLst>
        </pc:picChg>
        <pc:picChg chg="add mod">
          <ac:chgData name="Riely, Gregory" userId="8e9f1504-5205-4fae-b223-1d04dd54ed12" providerId="ADAL" clId="{66AA687B-ED34-4CC0-9E4F-833AD0F0BDDA}" dt="2025-10-23T13:56:15.131" v="289" actId="1076"/>
          <ac:picMkLst>
            <pc:docMk/>
            <pc:sldMk cId="1227393544" sldId="263"/>
            <ac:picMk id="10" creationId="{F7666743-F422-978E-55E2-52455B5259D7}"/>
          </ac:picMkLst>
        </pc:picChg>
      </pc:sldChg>
      <pc:sldChg chg="addSp modSp add mod">
        <pc:chgData name="Riely, Gregory" userId="8e9f1504-5205-4fae-b223-1d04dd54ed12" providerId="ADAL" clId="{66AA687B-ED34-4CC0-9E4F-833AD0F0BDDA}" dt="2025-10-23T17:17:40.067" v="2264" actId="6549"/>
        <pc:sldMkLst>
          <pc:docMk/>
          <pc:sldMk cId="431736423" sldId="264"/>
        </pc:sldMkLst>
        <pc:spChg chg="add mod">
          <ac:chgData name="Riely, Gregory" userId="8e9f1504-5205-4fae-b223-1d04dd54ed12" providerId="ADAL" clId="{66AA687B-ED34-4CC0-9E4F-833AD0F0BDDA}" dt="2025-10-23T15:35:39.105" v="958" actId="114"/>
          <ac:spMkLst>
            <pc:docMk/>
            <pc:sldMk cId="431736423" sldId="264"/>
            <ac:spMk id="3" creationId="{475EBD27-3C8E-CC6B-DADB-C8B23CF7E989}"/>
          </ac:spMkLst>
        </pc:spChg>
        <pc:spChg chg="add mod">
          <ac:chgData name="Riely, Gregory" userId="8e9f1504-5205-4fae-b223-1d04dd54ed12" providerId="ADAL" clId="{66AA687B-ED34-4CC0-9E4F-833AD0F0BDDA}" dt="2025-10-23T15:50:40.647" v="1207" actId="1076"/>
          <ac:spMkLst>
            <pc:docMk/>
            <pc:sldMk cId="431736423" sldId="264"/>
            <ac:spMk id="4" creationId="{46628605-AC7B-66D0-165F-ECAECDAC9AF1}"/>
          </ac:spMkLst>
        </pc:spChg>
        <pc:spChg chg="add mod">
          <ac:chgData name="Riely, Gregory" userId="8e9f1504-5205-4fae-b223-1d04dd54ed12" providerId="ADAL" clId="{66AA687B-ED34-4CC0-9E4F-833AD0F0BDDA}" dt="2025-10-23T16:57:12.674" v="1307" actId="1076"/>
          <ac:spMkLst>
            <pc:docMk/>
            <pc:sldMk cId="431736423" sldId="264"/>
            <ac:spMk id="5" creationId="{D695EB93-4953-F21C-009C-34149A5E2177}"/>
          </ac:spMkLst>
        </pc:spChg>
        <pc:graphicFrameChg chg="add mod modGraphic">
          <ac:chgData name="Riely, Gregory" userId="8e9f1504-5205-4fae-b223-1d04dd54ed12" providerId="ADAL" clId="{66AA687B-ED34-4CC0-9E4F-833AD0F0BDDA}" dt="2025-10-23T17:17:40.067" v="2264" actId="6549"/>
          <ac:graphicFrameMkLst>
            <pc:docMk/>
            <pc:sldMk cId="431736423" sldId="264"/>
            <ac:graphicFrameMk id="2" creationId="{3991AD01-66CF-E63B-46D9-420D259D0AB8}"/>
          </ac:graphicFrameMkLst>
        </pc:graphicFrameChg>
      </pc:sldChg>
      <pc:sldChg chg="add del">
        <pc:chgData name="Riely, Gregory" userId="8e9f1504-5205-4fae-b223-1d04dd54ed12" providerId="ADAL" clId="{66AA687B-ED34-4CC0-9E4F-833AD0F0BDDA}" dt="2025-10-23T16:59:47.660" v="1418" actId="47"/>
        <pc:sldMkLst>
          <pc:docMk/>
          <pc:sldMk cId="1499127217" sldId="265"/>
        </pc:sldMkLst>
      </pc:sldChg>
      <pc:sldChg chg="addSp delSp modSp add mod">
        <pc:chgData name="Riely, Gregory" userId="8e9f1504-5205-4fae-b223-1d04dd54ed12" providerId="ADAL" clId="{66AA687B-ED34-4CC0-9E4F-833AD0F0BDDA}" dt="2025-10-23T17:18:17.948" v="2268" actId="14100"/>
        <pc:sldMkLst>
          <pc:docMk/>
          <pc:sldMk cId="4142863325" sldId="266"/>
        </pc:sldMkLst>
        <pc:spChg chg="add mod">
          <ac:chgData name="Riely, Gregory" userId="8e9f1504-5205-4fae-b223-1d04dd54ed12" providerId="ADAL" clId="{66AA687B-ED34-4CC0-9E4F-833AD0F0BDDA}" dt="2025-10-23T17:09:35.949" v="1950" actId="20577"/>
          <ac:spMkLst>
            <pc:docMk/>
            <pc:sldMk cId="4142863325" sldId="266"/>
            <ac:spMk id="3" creationId="{0B5F712A-F815-94F5-9372-79F842944D3A}"/>
          </ac:spMkLst>
        </pc:spChg>
        <pc:spChg chg="add mod">
          <ac:chgData name="Riely, Gregory" userId="8e9f1504-5205-4fae-b223-1d04dd54ed12" providerId="ADAL" clId="{66AA687B-ED34-4CC0-9E4F-833AD0F0BDDA}" dt="2025-10-23T17:09:58.099" v="1964" actId="20577"/>
          <ac:spMkLst>
            <pc:docMk/>
            <pc:sldMk cId="4142863325" sldId="266"/>
            <ac:spMk id="4" creationId="{7F3448C8-8C0D-72BA-CC07-356527AEBD65}"/>
          </ac:spMkLst>
        </pc:spChg>
        <pc:picChg chg="add del mod modCrop">
          <ac:chgData name="Riely, Gregory" userId="8e9f1504-5205-4fae-b223-1d04dd54ed12" providerId="ADAL" clId="{66AA687B-ED34-4CC0-9E4F-833AD0F0BDDA}" dt="2025-10-23T17:09:21.710" v="1939" actId="478"/>
          <ac:picMkLst>
            <pc:docMk/>
            <pc:sldMk cId="4142863325" sldId="266"/>
            <ac:picMk id="2" creationId="{9CAAA07B-044D-42F5-8041-AC26C25FC22E}"/>
          </ac:picMkLst>
        </pc:picChg>
        <pc:picChg chg="add mod modCrop">
          <ac:chgData name="Riely, Gregory" userId="8e9f1504-5205-4fae-b223-1d04dd54ed12" providerId="ADAL" clId="{66AA687B-ED34-4CC0-9E4F-833AD0F0BDDA}" dt="2025-10-23T17:18:17.948" v="2268" actId="14100"/>
          <ac:picMkLst>
            <pc:docMk/>
            <pc:sldMk cId="4142863325" sldId="266"/>
            <ac:picMk id="6" creationId="{E43D8F23-8E18-A0BD-7E2A-EAED8EE6900D}"/>
          </ac:picMkLst>
        </pc:picChg>
      </pc:sldChg>
      <pc:sldChg chg="add del">
        <pc:chgData name="Riely, Gregory" userId="8e9f1504-5205-4fae-b223-1d04dd54ed12" providerId="ADAL" clId="{66AA687B-ED34-4CC0-9E4F-833AD0F0BDDA}" dt="2025-10-23T17:03:25.033" v="1482" actId="47"/>
        <pc:sldMkLst>
          <pc:docMk/>
          <pc:sldMk cId="2626602477" sldId="267"/>
        </pc:sldMkLst>
      </pc:sldChg>
      <pc:sldChg chg="add del">
        <pc:chgData name="Riely, Gregory" userId="8e9f1504-5205-4fae-b223-1d04dd54ed12" providerId="ADAL" clId="{66AA687B-ED34-4CC0-9E4F-833AD0F0BDDA}" dt="2025-10-23T17:03:25.820" v="1483" actId="47"/>
        <pc:sldMkLst>
          <pc:docMk/>
          <pc:sldMk cId="3203311043" sldId="268"/>
        </pc:sldMkLst>
      </pc:sldChg>
      <pc:sldChg chg="addSp modSp add mod modClrScheme chgLayout">
        <pc:chgData name="Riely, Gregory" userId="8e9f1504-5205-4fae-b223-1d04dd54ed12" providerId="ADAL" clId="{66AA687B-ED34-4CC0-9E4F-833AD0F0BDDA}" dt="2025-10-23T17:05:40.842" v="1836"/>
        <pc:sldMkLst>
          <pc:docMk/>
          <pc:sldMk cId="2378854889" sldId="269"/>
        </pc:sldMkLst>
        <pc:spChg chg="add mod">
          <ac:chgData name="Riely, Gregory" userId="8e9f1504-5205-4fae-b223-1d04dd54ed12" providerId="ADAL" clId="{66AA687B-ED34-4CC0-9E4F-833AD0F0BDDA}" dt="2025-10-23T17:03:47.226" v="1502" actId="20577"/>
          <ac:spMkLst>
            <pc:docMk/>
            <pc:sldMk cId="2378854889" sldId="269"/>
            <ac:spMk id="2" creationId="{D8A9C274-B61D-2D43-DB9C-1E2F5D7171DC}"/>
          </ac:spMkLst>
        </pc:spChg>
        <pc:spChg chg="add mod">
          <ac:chgData name="Riely, Gregory" userId="8e9f1504-5205-4fae-b223-1d04dd54ed12" providerId="ADAL" clId="{66AA687B-ED34-4CC0-9E4F-833AD0F0BDDA}" dt="2025-10-23T17:05:05.565" v="1827" actId="20577"/>
          <ac:spMkLst>
            <pc:docMk/>
            <pc:sldMk cId="2378854889" sldId="269"/>
            <ac:spMk id="3" creationId="{0CD6C603-135A-D0B8-8B4D-5BF3803DFCDE}"/>
          </ac:spMkLst>
        </pc:spChg>
        <pc:spChg chg="add mod">
          <ac:chgData name="Riely, Gregory" userId="8e9f1504-5205-4fae-b223-1d04dd54ed12" providerId="ADAL" clId="{66AA687B-ED34-4CC0-9E4F-833AD0F0BDDA}" dt="2025-10-23T17:03:37.736" v="1484" actId="700"/>
          <ac:spMkLst>
            <pc:docMk/>
            <pc:sldMk cId="2378854889" sldId="269"/>
            <ac:spMk id="4" creationId="{0ACABB02-A944-4AA4-73AB-AD0674E7D358}"/>
          </ac:spMkLst>
        </pc:spChg>
        <pc:picChg chg="add mod">
          <ac:chgData name="Riely, Gregory" userId="8e9f1504-5205-4fae-b223-1d04dd54ed12" providerId="ADAL" clId="{66AA687B-ED34-4CC0-9E4F-833AD0F0BDDA}" dt="2025-10-23T17:05:40.842" v="1836"/>
          <ac:picMkLst>
            <pc:docMk/>
            <pc:sldMk cId="2378854889" sldId="269"/>
            <ac:picMk id="6" creationId="{924D3280-3B80-F53C-8BBF-CD4DAF7110C2}"/>
          </ac:picMkLst>
        </pc:picChg>
      </pc:sldChg>
      <pc:sldChg chg="add del">
        <pc:chgData name="Riely, Gregory" userId="8e9f1504-5205-4fae-b223-1d04dd54ed12" providerId="ADAL" clId="{66AA687B-ED34-4CC0-9E4F-833AD0F0BDDA}" dt="2025-10-23T17:02:20.975" v="1420"/>
        <pc:sldMkLst>
          <pc:docMk/>
          <pc:sldMk cId="3662451630" sldId="296"/>
        </pc:sldMkLst>
      </pc:sldChg>
      <pc:sldChg chg="add del">
        <pc:chgData name="Riely, Gregory" userId="8e9f1504-5205-4fae-b223-1d04dd54ed12" providerId="ADAL" clId="{66AA687B-ED34-4CC0-9E4F-833AD0F0BDDA}" dt="2025-10-23T13:58:02.879" v="304" actId="47"/>
        <pc:sldMkLst>
          <pc:docMk/>
          <pc:sldMk cId="3107859960" sldId="311"/>
        </pc:sldMkLst>
      </pc:sldChg>
      <pc:sldChg chg="add del">
        <pc:chgData name="Riely, Gregory" userId="8e9f1504-5205-4fae-b223-1d04dd54ed12" providerId="ADAL" clId="{66AA687B-ED34-4CC0-9E4F-833AD0F0BDDA}" dt="2025-10-23T13:58:01.250" v="303" actId="47"/>
        <pc:sldMkLst>
          <pc:docMk/>
          <pc:sldMk cId="132130339" sldId="312"/>
        </pc:sldMkLst>
      </pc:sldChg>
      <pc:sldChg chg="add del">
        <pc:chgData name="Riely, Gregory" userId="8e9f1504-5205-4fae-b223-1d04dd54ed12" providerId="ADAL" clId="{66AA687B-ED34-4CC0-9E4F-833AD0F0BDDA}" dt="2025-10-23T13:57:57.334" v="302" actId="47"/>
        <pc:sldMkLst>
          <pc:docMk/>
          <pc:sldMk cId="1807174337" sldId="313"/>
        </pc:sldMkLst>
      </pc:sldChg>
      <pc:sldChg chg="add del">
        <pc:chgData name="Riely, Gregory" userId="8e9f1504-5205-4fae-b223-1d04dd54ed12" providerId="ADAL" clId="{66AA687B-ED34-4CC0-9E4F-833AD0F0BDDA}" dt="2025-10-23T15:38:35.401" v="1083" actId="47"/>
        <pc:sldMkLst>
          <pc:docMk/>
          <pc:sldMk cId="208611324" sldId="314"/>
        </pc:sldMkLst>
      </pc:sldChg>
      <pc:sldChg chg="add del">
        <pc:chgData name="Riely, Gregory" userId="8e9f1504-5205-4fae-b223-1d04dd54ed12" providerId="ADAL" clId="{66AA687B-ED34-4CC0-9E4F-833AD0F0BDDA}" dt="2025-10-23T15:38:32.219" v="1082" actId="47"/>
        <pc:sldMkLst>
          <pc:docMk/>
          <pc:sldMk cId="774820040" sldId="315"/>
        </pc:sldMkLst>
      </pc:sldChg>
      <pc:sldChg chg="addSp delSp modSp add mod">
        <pc:chgData name="Riely, Gregory" userId="8e9f1504-5205-4fae-b223-1d04dd54ed12" providerId="ADAL" clId="{66AA687B-ED34-4CC0-9E4F-833AD0F0BDDA}" dt="2025-10-23T17:17:20.385" v="2263" actId="1076"/>
        <pc:sldMkLst>
          <pc:docMk/>
          <pc:sldMk cId="302021715" sldId="316"/>
        </pc:sldMkLst>
        <pc:spChg chg="mod">
          <ac:chgData name="Riely, Gregory" userId="8e9f1504-5205-4fae-b223-1d04dd54ed12" providerId="ADAL" clId="{66AA687B-ED34-4CC0-9E4F-833AD0F0BDDA}" dt="2025-10-23T13:54:20.817" v="244" actId="20577"/>
          <ac:spMkLst>
            <pc:docMk/>
            <pc:sldMk cId="302021715" sldId="316"/>
            <ac:spMk id="4" creationId="{177BBC1C-D628-083B-26B8-0C52F8C0A3DB}"/>
          </ac:spMkLst>
        </pc:spChg>
        <pc:spChg chg="del">
          <ac:chgData name="Riely, Gregory" userId="8e9f1504-5205-4fae-b223-1d04dd54ed12" providerId="ADAL" clId="{66AA687B-ED34-4CC0-9E4F-833AD0F0BDDA}" dt="2025-10-23T13:53:51.995" v="236" actId="478"/>
          <ac:spMkLst>
            <pc:docMk/>
            <pc:sldMk cId="302021715" sldId="316"/>
            <ac:spMk id="6" creationId="{3F54FEF4-5D0F-B0FD-BE8B-D3BE0A806FF6}"/>
          </ac:spMkLst>
        </pc:spChg>
        <pc:picChg chg="del">
          <ac:chgData name="Riely, Gregory" userId="8e9f1504-5205-4fae-b223-1d04dd54ed12" providerId="ADAL" clId="{66AA687B-ED34-4CC0-9E4F-833AD0F0BDDA}" dt="2025-10-23T13:53:50.516" v="235" actId="478"/>
          <ac:picMkLst>
            <pc:docMk/>
            <pc:sldMk cId="302021715" sldId="316"/>
            <ac:picMk id="3" creationId="{7EC16468-6136-9621-6047-32A0F3579ADB}"/>
          </ac:picMkLst>
        </pc:picChg>
        <pc:picChg chg="add mod modCrop">
          <ac:chgData name="Riely, Gregory" userId="8e9f1504-5205-4fae-b223-1d04dd54ed12" providerId="ADAL" clId="{66AA687B-ED34-4CC0-9E4F-833AD0F0BDDA}" dt="2025-10-23T17:17:20.385" v="2263" actId="1076"/>
          <ac:picMkLst>
            <pc:docMk/>
            <pc:sldMk cId="302021715" sldId="316"/>
            <ac:picMk id="7" creationId="{72BC70AF-9EBB-FAEC-E993-99C9E27829B8}"/>
          </ac:picMkLst>
        </pc:picChg>
      </pc:sldChg>
      <pc:sldChg chg="add">
        <pc:chgData name="Riely, Gregory" userId="8e9f1504-5205-4fae-b223-1d04dd54ed12" providerId="ADAL" clId="{66AA687B-ED34-4CC0-9E4F-833AD0F0BDDA}" dt="2025-10-23T13:55:58.576" v="274" actId="2890"/>
        <pc:sldMkLst>
          <pc:docMk/>
          <pc:sldMk cId="3154506961" sldId="317"/>
        </pc:sldMkLst>
      </pc:sldChg>
      <pc:sldChg chg="add modTransition">
        <pc:chgData name="Riely, Gregory" userId="8e9f1504-5205-4fae-b223-1d04dd54ed12" providerId="ADAL" clId="{66AA687B-ED34-4CC0-9E4F-833AD0F0BDDA}" dt="2025-10-23T13:57:18.558" v="300"/>
        <pc:sldMkLst>
          <pc:docMk/>
          <pc:sldMk cId="2352285547" sldId="330"/>
        </pc:sldMkLst>
      </pc:sldChg>
      <pc:sldChg chg="add">
        <pc:chgData name="Riely, Gregory" userId="8e9f1504-5205-4fae-b223-1d04dd54ed12" providerId="ADAL" clId="{66AA687B-ED34-4CC0-9E4F-833AD0F0BDDA}" dt="2025-10-23T13:57:45.123" v="301"/>
        <pc:sldMkLst>
          <pc:docMk/>
          <pc:sldMk cId="2003724574" sldId="8144"/>
        </pc:sldMkLst>
      </pc:sldChg>
      <pc:sldChg chg="addSp delSp modSp add mod">
        <pc:chgData name="Riely, Gregory" userId="8e9f1504-5205-4fae-b223-1d04dd54ed12" providerId="ADAL" clId="{66AA687B-ED34-4CC0-9E4F-833AD0F0BDDA}" dt="2025-10-23T14:01:50.524" v="312" actId="1076"/>
        <pc:sldMkLst>
          <pc:docMk/>
          <pc:sldMk cId="2181685016" sldId="8145"/>
        </pc:sldMkLst>
        <pc:spChg chg="mod">
          <ac:chgData name="Riely, Gregory" userId="8e9f1504-5205-4fae-b223-1d04dd54ed12" providerId="ADAL" clId="{66AA687B-ED34-4CC0-9E4F-833AD0F0BDDA}" dt="2025-10-23T14:01:50.524" v="312" actId="1076"/>
          <ac:spMkLst>
            <pc:docMk/>
            <pc:sldMk cId="2181685016" sldId="8145"/>
            <ac:spMk id="6" creationId="{BE9EF0EB-A03B-4AAA-A934-D04AFE874E1B}"/>
          </ac:spMkLst>
        </pc:spChg>
        <pc:grpChg chg="del">
          <ac:chgData name="Riely, Gregory" userId="8e9f1504-5205-4fae-b223-1d04dd54ed12" providerId="ADAL" clId="{66AA687B-ED34-4CC0-9E4F-833AD0F0BDDA}" dt="2025-10-23T13:58:57.945" v="306" actId="21"/>
          <ac:grpSpMkLst>
            <pc:docMk/>
            <pc:sldMk cId="2181685016" sldId="8145"/>
            <ac:grpSpMk id="11" creationId="{A3C9B1F5-90FC-F6EF-401A-E5E1BCC77833}"/>
          </ac:grpSpMkLst>
        </pc:grpChg>
        <pc:picChg chg="add mod modCrop">
          <ac:chgData name="Riely, Gregory" userId="8e9f1504-5205-4fae-b223-1d04dd54ed12" providerId="ADAL" clId="{66AA687B-ED34-4CC0-9E4F-833AD0F0BDDA}" dt="2025-10-23T13:59:09.299" v="310" actId="1076"/>
          <ac:picMkLst>
            <pc:docMk/>
            <pc:sldMk cId="2181685016" sldId="8145"/>
            <ac:picMk id="2" creationId="{76276933-E388-1B9C-40BE-FB3B20D3E8D8}"/>
          </ac:picMkLst>
        </pc:picChg>
      </pc:sldChg>
      <pc:sldChg chg="modSp add del mod">
        <pc:chgData name="Riely, Gregory" userId="8e9f1504-5205-4fae-b223-1d04dd54ed12" providerId="ADAL" clId="{66AA687B-ED34-4CC0-9E4F-833AD0F0BDDA}" dt="2025-10-23T17:06:06.880" v="1838" actId="47"/>
        <pc:sldMkLst>
          <pc:docMk/>
          <pc:sldMk cId="3123128342" sldId="8146"/>
        </pc:sldMkLst>
        <pc:spChg chg="mod">
          <ac:chgData name="Riely, Gregory" userId="8e9f1504-5205-4fae-b223-1d04dd54ed12" providerId="ADAL" clId="{66AA687B-ED34-4CC0-9E4F-833AD0F0BDDA}" dt="2025-10-23T14:03:14.658" v="332" actId="20577"/>
          <ac:spMkLst>
            <pc:docMk/>
            <pc:sldMk cId="3123128342" sldId="8146"/>
            <ac:spMk id="2" creationId="{F6001129-48DB-CFD8-239B-E2BDD17B5D19}"/>
          </ac:spMkLst>
        </pc:spChg>
        <pc:spChg chg="mod">
          <ac:chgData name="Riely, Gregory" userId="8e9f1504-5205-4fae-b223-1d04dd54ed12" providerId="ADAL" clId="{66AA687B-ED34-4CC0-9E4F-833AD0F0BDDA}" dt="2025-10-23T14:03:43.688" v="411" actId="20577"/>
          <ac:spMkLst>
            <pc:docMk/>
            <pc:sldMk cId="3123128342" sldId="8146"/>
            <ac:spMk id="3" creationId="{C2D02716-3039-7215-3F42-2859AA413D81}"/>
          </ac:spMkLst>
        </pc:spChg>
      </pc:sldChg>
      <pc:sldChg chg="add del">
        <pc:chgData name="Riely, Gregory" userId="8e9f1504-5205-4fae-b223-1d04dd54ed12" providerId="ADAL" clId="{66AA687B-ED34-4CC0-9E4F-833AD0F0BDDA}" dt="2025-10-23T14:00:52.244" v="311" actId="47"/>
        <pc:sldMkLst>
          <pc:docMk/>
          <pc:sldMk cId="3707533065" sldId="8146"/>
        </pc:sldMkLst>
      </pc:sldChg>
      <pc:sldChg chg="addSp modSp add mod">
        <pc:chgData name="Riely, Gregory" userId="8e9f1504-5205-4fae-b223-1d04dd54ed12" providerId="ADAL" clId="{66AA687B-ED34-4CC0-9E4F-833AD0F0BDDA}" dt="2025-10-23T14:09:07.438" v="598" actId="1076"/>
        <pc:sldMkLst>
          <pc:docMk/>
          <pc:sldMk cId="2593489038" sldId="8147"/>
        </pc:sldMkLst>
        <pc:spChg chg="mod">
          <ac:chgData name="Riely, Gregory" userId="8e9f1504-5205-4fae-b223-1d04dd54ed12" providerId="ADAL" clId="{66AA687B-ED34-4CC0-9E4F-833AD0F0BDDA}" dt="2025-10-23T14:04:19.998" v="415" actId="404"/>
          <ac:spMkLst>
            <pc:docMk/>
            <pc:sldMk cId="2593489038" sldId="8147"/>
            <ac:spMk id="4" creationId="{AEED27F5-434B-E19F-FCA0-86AF1A766937}"/>
          </ac:spMkLst>
        </pc:spChg>
        <pc:spChg chg="add mod">
          <ac:chgData name="Riely, Gregory" userId="8e9f1504-5205-4fae-b223-1d04dd54ed12" providerId="ADAL" clId="{66AA687B-ED34-4CC0-9E4F-833AD0F0BDDA}" dt="2025-10-23T14:08:39.852" v="589" actId="1076"/>
          <ac:spMkLst>
            <pc:docMk/>
            <pc:sldMk cId="2593489038" sldId="8147"/>
            <ac:spMk id="8" creationId="{5E3366B8-40EA-309F-A2FC-E8B3FECC00BC}"/>
          </ac:spMkLst>
        </pc:spChg>
        <pc:spChg chg="add mod">
          <ac:chgData name="Riely, Gregory" userId="8e9f1504-5205-4fae-b223-1d04dd54ed12" providerId="ADAL" clId="{66AA687B-ED34-4CC0-9E4F-833AD0F0BDDA}" dt="2025-10-23T14:09:07.438" v="598" actId="1076"/>
          <ac:spMkLst>
            <pc:docMk/>
            <pc:sldMk cId="2593489038" sldId="8147"/>
            <ac:spMk id="9" creationId="{F99B6EE4-6054-F4EF-60B8-56C6E98F8372}"/>
          </ac:spMkLst>
        </pc:spChg>
        <pc:spChg chg="add mod">
          <ac:chgData name="Riely, Gregory" userId="8e9f1504-5205-4fae-b223-1d04dd54ed12" providerId="ADAL" clId="{66AA687B-ED34-4CC0-9E4F-833AD0F0BDDA}" dt="2025-10-23T14:09:02.052" v="597" actId="14100"/>
          <ac:spMkLst>
            <pc:docMk/>
            <pc:sldMk cId="2593489038" sldId="8147"/>
            <ac:spMk id="14" creationId="{C0B3E6BD-369E-509B-48EE-DD26F101740B}"/>
          </ac:spMkLst>
        </pc:spChg>
        <pc:spChg chg="add mod">
          <ac:chgData name="Riely, Gregory" userId="8e9f1504-5205-4fae-b223-1d04dd54ed12" providerId="ADAL" clId="{66AA687B-ED34-4CC0-9E4F-833AD0F0BDDA}" dt="2025-10-23T14:08:59.109" v="596" actId="1076"/>
          <ac:spMkLst>
            <pc:docMk/>
            <pc:sldMk cId="2593489038" sldId="8147"/>
            <ac:spMk id="15" creationId="{EA1D95E8-7054-C05F-0D3E-88DC5C94BF05}"/>
          </ac:spMkLst>
        </pc:spChg>
        <pc:picChg chg="mod">
          <ac:chgData name="Riely, Gregory" userId="8e9f1504-5205-4fae-b223-1d04dd54ed12" providerId="ADAL" clId="{66AA687B-ED34-4CC0-9E4F-833AD0F0BDDA}" dt="2025-10-23T14:04:16.940" v="414" actId="1076"/>
          <ac:picMkLst>
            <pc:docMk/>
            <pc:sldMk cId="2593489038" sldId="8147"/>
            <ac:picMk id="2" creationId="{75B8A128-9352-00F6-46DC-AFC968363266}"/>
          </ac:picMkLst>
        </pc:picChg>
        <pc:cxnChg chg="add mod">
          <ac:chgData name="Riely, Gregory" userId="8e9f1504-5205-4fae-b223-1d04dd54ed12" providerId="ADAL" clId="{66AA687B-ED34-4CC0-9E4F-833AD0F0BDDA}" dt="2025-10-23T14:05:16.440" v="442" actId="692"/>
          <ac:cxnSpMkLst>
            <pc:docMk/>
            <pc:sldMk cId="2593489038" sldId="8147"/>
            <ac:cxnSpMk id="5" creationId="{7501C5E9-298B-EED1-6AF5-ABE6E2B85685}"/>
          </ac:cxnSpMkLst>
        </pc:cxnChg>
        <pc:cxnChg chg="add mod">
          <ac:chgData name="Riely, Gregory" userId="8e9f1504-5205-4fae-b223-1d04dd54ed12" providerId="ADAL" clId="{66AA687B-ED34-4CC0-9E4F-833AD0F0BDDA}" dt="2025-10-23T14:05:16.440" v="442" actId="692"/>
          <ac:cxnSpMkLst>
            <pc:docMk/>
            <pc:sldMk cId="2593489038" sldId="8147"/>
            <ac:cxnSpMk id="7" creationId="{42D85390-0F3E-6F9E-959F-375D3787C889}"/>
          </ac:cxnSpMkLst>
        </pc:cxnChg>
        <pc:cxnChg chg="add mod">
          <ac:chgData name="Riely, Gregory" userId="8e9f1504-5205-4fae-b223-1d04dd54ed12" providerId="ADAL" clId="{66AA687B-ED34-4CC0-9E4F-833AD0F0BDDA}" dt="2025-10-23T14:08:50.886" v="592" actId="1076"/>
          <ac:cxnSpMkLst>
            <pc:docMk/>
            <pc:sldMk cId="2593489038" sldId="8147"/>
            <ac:cxnSpMk id="11" creationId="{6B7F4979-96F8-83E7-6165-16A1D12BAB53}"/>
          </ac:cxnSpMkLst>
        </pc:cxnChg>
        <pc:cxnChg chg="add mod">
          <ac:chgData name="Riely, Gregory" userId="8e9f1504-5205-4fae-b223-1d04dd54ed12" providerId="ADAL" clId="{66AA687B-ED34-4CC0-9E4F-833AD0F0BDDA}" dt="2025-10-23T14:07:48.398" v="542" actId="1076"/>
          <ac:cxnSpMkLst>
            <pc:docMk/>
            <pc:sldMk cId="2593489038" sldId="8147"/>
            <ac:cxnSpMk id="13" creationId="{E1466BFF-101B-B9A9-F535-0B01C5920FC5}"/>
          </ac:cxnSpMkLst>
        </pc:cxnChg>
      </pc:sldChg>
      <pc:sldChg chg="add del">
        <pc:chgData name="Riely, Gregory" userId="8e9f1504-5205-4fae-b223-1d04dd54ed12" providerId="ADAL" clId="{66AA687B-ED34-4CC0-9E4F-833AD0F0BDDA}" dt="2025-10-23T17:17:51.280" v="2265" actId="47"/>
        <pc:sldMkLst>
          <pc:docMk/>
          <pc:sldMk cId="0" sldId="8148"/>
        </pc:sldMkLst>
      </pc:sldChg>
      <pc:sldChg chg="addSp delSp modSp add del mod">
        <pc:chgData name="Riely, Gregory" userId="8e9f1504-5205-4fae-b223-1d04dd54ed12" providerId="ADAL" clId="{66AA687B-ED34-4CC0-9E4F-833AD0F0BDDA}" dt="2025-10-23T15:56:33.828" v="1265" actId="47"/>
        <pc:sldMkLst>
          <pc:docMk/>
          <pc:sldMk cId="382365739" sldId="8148"/>
        </pc:sldMkLst>
        <pc:spChg chg="mod">
          <ac:chgData name="Riely, Gregory" userId="8e9f1504-5205-4fae-b223-1d04dd54ed12" providerId="ADAL" clId="{66AA687B-ED34-4CC0-9E4F-833AD0F0BDDA}" dt="2025-10-23T15:55:25.412" v="1254" actId="20577"/>
          <ac:spMkLst>
            <pc:docMk/>
            <pc:sldMk cId="382365739" sldId="8148"/>
            <ac:spMk id="4" creationId="{2713DA5E-488B-F830-DBD6-819F15DDD9F7}"/>
          </ac:spMkLst>
        </pc:spChg>
        <pc:graphicFrameChg chg="add del mod modGraphic">
          <ac:chgData name="Riely, Gregory" userId="8e9f1504-5205-4fae-b223-1d04dd54ed12" providerId="ADAL" clId="{66AA687B-ED34-4CC0-9E4F-833AD0F0BDDA}" dt="2025-10-23T15:56:20.332" v="1264" actId="6549"/>
          <ac:graphicFrameMkLst>
            <pc:docMk/>
            <pc:sldMk cId="382365739" sldId="8148"/>
            <ac:graphicFrameMk id="2" creationId="{04F6D3BC-6A1D-01BE-994A-4862F0D94063}"/>
          </ac:graphicFrameMkLst>
        </pc:graphicFrameChg>
      </pc:sldChg>
      <pc:sldChg chg="addSp delSp modSp add mod">
        <pc:chgData name="Riely, Gregory" userId="8e9f1504-5205-4fae-b223-1d04dd54ed12" providerId="ADAL" clId="{66AA687B-ED34-4CC0-9E4F-833AD0F0BDDA}" dt="2025-10-23T16:59:27.758" v="1412" actId="1076"/>
        <pc:sldMkLst>
          <pc:docMk/>
          <pc:sldMk cId="0" sldId="8149"/>
        </pc:sldMkLst>
        <pc:spChg chg="add mod">
          <ac:chgData name="Riely, Gregory" userId="8e9f1504-5205-4fae-b223-1d04dd54ed12" providerId="ADAL" clId="{66AA687B-ED34-4CC0-9E4F-833AD0F0BDDA}" dt="2025-10-23T16:58:14.684" v="1382" actId="20577"/>
          <ac:spMkLst>
            <pc:docMk/>
            <pc:sldMk cId="0" sldId="8149"/>
            <ac:spMk id="3" creationId="{0862454E-C3FD-5FA6-0E8B-9B611EF1D3EB}"/>
          </ac:spMkLst>
        </pc:spChg>
        <pc:spChg chg="add mod">
          <ac:chgData name="Riely, Gregory" userId="8e9f1504-5205-4fae-b223-1d04dd54ed12" providerId="ADAL" clId="{66AA687B-ED34-4CC0-9E4F-833AD0F0BDDA}" dt="2025-10-23T16:59:27.758" v="1412" actId="1076"/>
          <ac:spMkLst>
            <pc:docMk/>
            <pc:sldMk cId="0" sldId="8149"/>
            <ac:spMk id="5" creationId="{20DED002-E35B-3F80-0C8D-59671ABF732F}"/>
          </ac:spMkLst>
        </pc:spChg>
        <pc:spChg chg="del">
          <ac:chgData name="Riely, Gregory" userId="8e9f1504-5205-4fae-b223-1d04dd54ed12" providerId="ADAL" clId="{66AA687B-ED34-4CC0-9E4F-833AD0F0BDDA}" dt="2025-10-23T16:59:17.560" v="1388" actId="478"/>
          <ac:spMkLst>
            <pc:docMk/>
            <pc:sldMk cId="0" sldId="8149"/>
            <ac:spMk id="7" creationId="{00000000-0000-0000-0000-000000000000}"/>
          </ac:spMkLst>
        </pc:spChg>
        <pc:picChg chg="add del mod modCrop">
          <ac:chgData name="Riely, Gregory" userId="8e9f1504-5205-4fae-b223-1d04dd54ed12" providerId="ADAL" clId="{66AA687B-ED34-4CC0-9E4F-833AD0F0BDDA}" dt="2025-10-23T16:59:07.777" v="1387" actId="21"/>
          <ac:picMkLst>
            <pc:docMk/>
            <pc:sldMk cId="0" sldId="8149"/>
            <ac:picMk id="4" creationId="{E4C82765-DB67-940E-D665-17C3F820DAC8}"/>
          </ac:picMkLst>
        </pc:picChg>
        <pc:picChg chg="mod">
          <ac:chgData name="Riely, Gregory" userId="8e9f1504-5205-4fae-b223-1d04dd54ed12" providerId="ADAL" clId="{66AA687B-ED34-4CC0-9E4F-833AD0F0BDDA}" dt="2025-10-23T16:57:42.725" v="1310" actId="1076"/>
          <ac:picMkLst>
            <pc:docMk/>
            <pc:sldMk cId="0" sldId="8149"/>
            <ac:picMk id="1026" creationId="{00000000-0000-0000-0000-000000000000}"/>
          </ac:picMkLst>
        </pc:picChg>
      </pc:sldChg>
      <pc:sldChg chg="addSp delSp modSp add mod">
        <pc:chgData name="Riely, Gregory" userId="8e9f1504-5205-4fae-b223-1d04dd54ed12" providerId="ADAL" clId="{66AA687B-ED34-4CC0-9E4F-833AD0F0BDDA}" dt="2025-10-23T16:59:40.515" v="1417" actId="1076"/>
        <pc:sldMkLst>
          <pc:docMk/>
          <pc:sldMk cId="3868876996" sldId="8150"/>
        </pc:sldMkLst>
        <pc:picChg chg="add mod">
          <ac:chgData name="Riely, Gregory" userId="8e9f1504-5205-4fae-b223-1d04dd54ed12" providerId="ADAL" clId="{66AA687B-ED34-4CC0-9E4F-833AD0F0BDDA}" dt="2025-10-23T16:59:40.515" v="1417" actId="1076"/>
          <ac:picMkLst>
            <pc:docMk/>
            <pc:sldMk cId="3868876996" sldId="8150"/>
            <ac:picMk id="4" creationId="{E4C82765-DB67-940E-D665-17C3F820DAC8}"/>
          </ac:picMkLst>
        </pc:picChg>
        <pc:picChg chg="del">
          <ac:chgData name="Riely, Gregory" userId="8e9f1504-5205-4fae-b223-1d04dd54ed12" providerId="ADAL" clId="{66AA687B-ED34-4CC0-9E4F-833AD0F0BDDA}" dt="2025-10-23T16:59:34.911" v="1414" actId="478"/>
          <ac:picMkLst>
            <pc:docMk/>
            <pc:sldMk cId="3868876996" sldId="8150"/>
            <ac:picMk id="1026" creationId="{DE7CFB9E-CD46-C10C-9DD3-C10131DFB035}"/>
          </ac:picMkLst>
        </pc:picChg>
      </pc:sldChg>
      <pc:sldChg chg="modSp new mod">
        <pc:chgData name="Riely, Gregory" userId="8e9f1504-5205-4fae-b223-1d04dd54ed12" providerId="ADAL" clId="{66AA687B-ED34-4CC0-9E4F-833AD0F0BDDA}" dt="2025-10-23T17:16:19.687" v="2256" actId="20577"/>
        <pc:sldMkLst>
          <pc:docMk/>
          <pc:sldMk cId="1620384573" sldId="8151"/>
        </pc:sldMkLst>
        <pc:spChg chg="mod">
          <ac:chgData name="Riely, Gregory" userId="8e9f1504-5205-4fae-b223-1d04dd54ed12" providerId="ADAL" clId="{66AA687B-ED34-4CC0-9E4F-833AD0F0BDDA}" dt="2025-10-23T17:13:49.927" v="2080" actId="6549"/>
          <ac:spMkLst>
            <pc:docMk/>
            <pc:sldMk cId="1620384573" sldId="8151"/>
            <ac:spMk id="2" creationId="{FE68197E-129A-7927-F152-4967CB3EFB47}"/>
          </ac:spMkLst>
        </pc:spChg>
        <pc:spChg chg="mod">
          <ac:chgData name="Riely, Gregory" userId="8e9f1504-5205-4fae-b223-1d04dd54ed12" providerId="ADAL" clId="{66AA687B-ED34-4CC0-9E4F-833AD0F0BDDA}" dt="2025-10-23T17:16:19.687" v="2256" actId="20577"/>
          <ac:spMkLst>
            <pc:docMk/>
            <pc:sldMk cId="1620384573" sldId="8151"/>
            <ac:spMk id="3" creationId="{2A2AE3A9-1B2C-158C-16B4-88CC0C995D69}"/>
          </ac:spMkLst>
        </pc:spChg>
      </pc:sldChg>
      <pc:sldChg chg="addSp modSp add mod">
        <pc:chgData name="Riely, Gregory" userId="8e9f1504-5205-4fae-b223-1d04dd54ed12" providerId="ADAL" clId="{66AA687B-ED34-4CC0-9E4F-833AD0F0BDDA}" dt="2025-10-23T17:11:46.888" v="1975" actId="1076"/>
        <pc:sldMkLst>
          <pc:docMk/>
          <pc:sldMk cId="923067704" sldId="8152"/>
        </pc:sldMkLst>
        <pc:picChg chg="add mod">
          <ac:chgData name="Riely, Gregory" userId="8e9f1504-5205-4fae-b223-1d04dd54ed12" providerId="ADAL" clId="{66AA687B-ED34-4CC0-9E4F-833AD0F0BDDA}" dt="2025-10-23T17:11:44.082" v="1974" actId="1076"/>
          <ac:picMkLst>
            <pc:docMk/>
            <pc:sldMk cId="923067704" sldId="8152"/>
            <ac:picMk id="5" creationId="{E42E8F74-5A68-EE65-DAC1-71B9C5C3BBAF}"/>
          </ac:picMkLst>
        </pc:picChg>
        <pc:picChg chg="mod">
          <ac:chgData name="Riely, Gregory" userId="8e9f1504-5205-4fae-b223-1d04dd54ed12" providerId="ADAL" clId="{66AA687B-ED34-4CC0-9E4F-833AD0F0BDDA}" dt="2025-10-23T17:11:46.888" v="1975" actId="1076"/>
          <ac:picMkLst>
            <pc:docMk/>
            <pc:sldMk cId="923067704" sldId="8152"/>
            <ac:picMk id="6" creationId="{8F89D77E-D783-32C3-BB2E-012FA00AB57E}"/>
          </ac:picMkLst>
        </pc:picChg>
      </pc:sldChg>
      <pc:sldMasterChg chg="delSldLayout">
        <pc:chgData name="Riely, Gregory" userId="8e9f1504-5205-4fae-b223-1d04dd54ed12" providerId="ADAL" clId="{66AA687B-ED34-4CC0-9E4F-833AD0F0BDDA}" dt="2025-10-23T15:38:35.401" v="1083" actId="47"/>
        <pc:sldMasterMkLst>
          <pc:docMk/>
          <pc:sldMasterMk cId="3498194364" sldId="2147483928"/>
        </pc:sldMasterMkLst>
        <pc:sldLayoutChg chg="del">
          <pc:chgData name="Riely, Gregory" userId="8e9f1504-5205-4fae-b223-1d04dd54ed12" providerId="ADAL" clId="{66AA687B-ED34-4CC0-9E4F-833AD0F0BDDA}" dt="2025-10-23T15:38:35.401" v="1083" actId="47"/>
          <pc:sldLayoutMkLst>
            <pc:docMk/>
            <pc:sldMasterMk cId="3498194364" sldId="2147483928"/>
            <pc:sldLayoutMk cId="1298863138" sldId="2147483980"/>
          </pc:sldLayoutMkLst>
        </pc:sldLayoutChg>
      </pc:sldMasterChg>
    </pc:docChg>
  </pc:docChgLst>
  <pc:docChgLst>
    <pc:chgData name="Riely, Gregory" userId="8e9f1504-5205-4fae-b223-1d04dd54ed12" providerId="ADAL" clId="{6C6E774D-4678-4B8E-B1A6-72D417EFDFFE}"/>
    <pc:docChg chg="undo redo custSel delSld modSld">
      <pc:chgData name="Riely, Gregory" userId="8e9f1504-5205-4fae-b223-1d04dd54ed12" providerId="ADAL" clId="{6C6E774D-4678-4B8E-B1A6-72D417EFDFFE}" dt="2025-10-02T19:35:53.864" v="119" actId="47"/>
      <pc:docMkLst>
        <pc:docMk/>
      </pc:docMkLst>
      <pc:sldChg chg="modSp mod">
        <pc:chgData name="Riely, Gregory" userId="8e9f1504-5205-4fae-b223-1d04dd54ed12" providerId="ADAL" clId="{6C6E774D-4678-4B8E-B1A6-72D417EFDFFE}" dt="2025-10-02T19:35:48.313" v="118" actId="20577"/>
        <pc:sldMkLst>
          <pc:docMk/>
          <pc:sldMk cId="1140180217" sldId="257"/>
        </pc:sldMkLst>
        <pc:spChg chg="mod">
          <ac:chgData name="Riely, Gregory" userId="8e9f1504-5205-4fae-b223-1d04dd54ed12" providerId="ADAL" clId="{6C6E774D-4678-4B8E-B1A6-72D417EFDFFE}" dt="2025-10-02T19:35:31.896" v="79" actId="1076"/>
          <ac:spMkLst>
            <pc:docMk/>
            <pc:sldMk cId="1140180217" sldId="257"/>
            <ac:spMk id="2" creationId="{E18D4E15-C72D-A846-8A5A-F6AF5151BDB8}"/>
          </ac:spMkLst>
        </pc:spChg>
        <pc:spChg chg="mod">
          <ac:chgData name="Riely, Gregory" userId="8e9f1504-5205-4fae-b223-1d04dd54ed12" providerId="ADAL" clId="{6C6E774D-4678-4B8E-B1A6-72D417EFDFFE}" dt="2025-10-02T19:35:48.313" v="118" actId="20577"/>
          <ac:spMkLst>
            <pc:docMk/>
            <pc:sldMk cId="1140180217" sldId="257"/>
            <ac:spMk id="3" creationId="{66867F8F-43AD-4842-92E5-F031CB56F71C}"/>
          </ac:spMkLst>
        </pc:spChg>
      </pc:sldChg>
      <pc:sldChg chg="del">
        <pc:chgData name="Riely, Gregory" userId="8e9f1504-5205-4fae-b223-1d04dd54ed12" providerId="ADAL" clId="{6C6E774D-4678-4B8E-B1A6-72D417EFDFFE}" dt="2025-10-02T19:35:53.864" v="119" actId="47"/>
        <pc:sldMkLst>
          <pc:docMk/>
          <pc:sldMk cId="3690124691" sldId="258"/>
        </pc:sldMkLst>
      </pc:sldChg>
      <pc:sldChg chg="addSp delSp modSp mod modClrScheme chgLayout">
        <pc:chgData name="Riely, Gregory" userId="8e9f1504-5205-4fae-b223-1d04dd54ed12" providerId="ADAL" clId="{6C6E774D-4678-4B8E-B1A6-72D417EFDFFE}" dt="2025-10-02T19:33:56.250" v="56" actId="1076"/>
        <pc:sldMkLst>
          <pc:docMk/>
          <pc:sldMk cId="2105713507" sldId="259"/>
        </pc:sldMkLst>
        <pc:spChg chg="add mod">
          <ac:chgData name="Riely, Gregory" userId="8e9f1504-5205-4fae-b223-1d04dd54ed12" providerId="ADAL" clId="{6C6E774D-4678-4B8E-B1A6-72D417EFDFFE}" dt="2025-10-02T19:33:56.250" v="56" actId="1076"/>
          <ac:spMkLst>
            <pc:docMk/>
            <pc:sldMk cId="2105713507" sldId="259"/>
            <ac:spMk id="6" creationId="{422CB4CB-3164-8B76-0A4E-928A61ED5ADC}"/>
          </ac:spMkLst>
        </pc:spChg>
        <pc:spChg chg="add mod">
          <ac:chgData name="Riely, Gregory" userId="8e9f1504-5205-4fae-b223-1d04dd54ed12" providerId="ADAL" clId="{6C6E774D-4678-4B8E-B1A6-72D417EFDFFE}" dt="2025-10-02T19:33:43.463" v="53"/>
          <ac:spMkLst>
            <pc:docMk/>
            <pc:sldMk cId="2105713507" sldId="259"/>
            <ac:spMk id="9" creationId="{D70FF6F0-626F-08DC-CF66-8CF4B250AB4D}"/>
          </ac:spMkLst>
        </pc:spChg>
        <pc:picChg chg="add mod">
          <ac:chgData name="Riely, Gregory" userId="8e9f1504-5205-4fae-b223-1d04dd54ed12" providerId="ADAL" clId="{6C6E774D-4678-4B8E-B1A6-72D417EFDFFE}" dt="2025-10-02T19:33:50.147" v="54" actId="1076"/>
          <ac:picMkLst>
            <pc:docMk/>
            <pc:sldMk cId="2105713507" sldId="259"/>
            <ac:picMk id="8" creationId="{970BB156-779F-B85A-2C9F-D51929FC9038}"/>
          </ac:picMkLst>
        </pc:picChg>
      </pc:sldChg>
      <pc:sldChg chg="del">
        <pc:chgData name="Riely, Gregory" userId="8e9f1504-5205-4fae-b223-1d04dd54ed12" providerId="ADAL" clId="{6C6E774D-4678-4B8E-B1A6-72D417EFDFFE}" dt="2025-10-02T19:34:01.758" v="57" actId="47"/>
        <pc:sldMkLst>
          <pc:docMk/>
          <pc:sldMk cId="2913309622" sldId="26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3C70490-A004-4E70-B243-A03CC10137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sz="800">
              <a:solidFill>
                <a:schemeClr val="bg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51263F-4017-4AA5-B787-B3DCD024C3B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E0A858-8A8A-4357-95EF-8979BFBCB3AA}" type="datetimeFigureOut">
              <a:rPr lang="en-GB" sz="800" smtClean="0">
                <a:solidFill>
                  <a:schemeClr val="bg2"/>
                </a:solidFill>
              </a:rPr>
              <a:t>23/10/2025</a:t>
            </a:fld>
            <a:endParaRPr lang="en-GB" sz="800">
              <a:solidFill>
                <a:schemeClr val="bg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00CA21-639A-4928-B339-8919CC959D3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sz="80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C65EDE-CDB2-47B0-B65E-8F8E02C4DF2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0A66D-86A9-4BD7-BEF1-A8E20B3F0C7F}" type="slidenum">
              <a:rPr lang="en-GB" sz="800" smtClean="0">
                <a:solidFill>
                  <a:schemeClr val="bg2"/>
                </a:solidFill>
              </a:rPr>
              <a:t>‹#›</a:t>
            </a:fld>
            <a:endParaRPr lang="en-GB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7232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25B04D1A-91B0-4BDE-A6E8-D9A007134D33}" type="datetimeFigureOut">
              <a:rPr lang="en-GB" smtClean="0"/>
              <a:pPr/>
              <a:t>23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9000" y="1143000"/>
            <a:ext cx="5400000" cy="3037500"/>
          </a:xfrm>
          <a:prstGeom prst="rect">
            <a:avLst/>
          </a:prstGeom>
          <a:noFill/>
          <a:ln w="12700">
            <a:solidFill>
              <a:schemeClr val="bg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 noChangeAspect="1"/>
          </p:cNvSpPr>
          <p:nvPr>
            <p:ph type="body" sz="quarter" idx="3"/>
          </p:nvPr>
        </p:nvSpPr>
        <p:spPr>
          <a:xfrm>
            <a:off x="728970" y="4391998"/>
            <a:ext cx="5400000" cy="35437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Main bullet</a:t>
            </a:r>
          </a:p>
          <a:p>
            <a:pPr lvl="2"/>
            <a:r>
              <a:rPr lang="en-US" dirty="0"/>
              <a:t>Sub bullet</a:t>
            </a:r>
          </a:p>
          <a:p>
            <a:pPr lvl="3"/>
            <a:r>
              <a:rPr lang="en-US" dirty="0"/>
              <a:t>SUBTITLE</a:t>
            </a:r>
          </a:p>
          <a:p>
            <a:pPr lvl="4"/>
            <a:r>
              <a:rPr lang="en-US" dirty="0"/>
              <a:t>Large text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2495409D-ABBF-4499-A42C-8099E62E99A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4560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500"/>
      </a:spcBef>
      <a:defRPr sz="1000" kern="1200">
        <a:solidFill>
          <a:schemeClr val="bg2"/>
        </a:solidFill>
        <a:latin typeface="+mn-lt"/>
        <a:ea typeface="+mn-ea"/>
        <a:cs typeface="+mn-cs"/>
      </a:defRPr>
    </a:lvl1pPr>
    <a:lvl2pPr marL="108000" indent="-108000" algn="l" defTabSz="914400" rtl="0" eaLnBrk="1" latinLnBrk="0" hangingPunct="1">
      <a:spcBef>
        <a:spcPts val="500"/>
      </a:spcBef>
      <a:buClr>
        <a:schemeClr val="tx2"/>
      </a:buClr>
      <a:buFont typeface="Franklin Gothic Medium" panose="020B0603020102020204" pitchFamily="34" charset="0"/>
      <a:buChar char="●"/>
      <a:defRPr sz="800" kern="1200">
        <a:solidFill>
          <a:schemeClr val="bg2"/>
        </a:solidFill>
        <a:latin typeface="+mn-lt"/>
        <a:ea typeface="+mn-ea"/>
        <a:cs typeface="+mn-cs"/>
      </a:defRPr>
    </a:lvl2pPr>
    <a:lvl3pPr marL="180000" indent="-72000" algn="l" defTabSz="914400" rtl="0" eaLnBrk="1" latinLnBrk="0" hangingPunct="1">
      <a:spcBef>
        <a:spcPts val="500"/>
      </a:spcBef>
      <a:buClrTx/>
      <a:buFont typeface="Franklin Gothic Book" panose="020B0503020102020204" pitchFamily="34" charset="0"/>
      <a:buChar char="–"/>
      <a:defRPr sz="800" kern="1200">
        <a:solidFill>
          <a:schemeClr val="bg2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spcBef>
        <a:spcPts val="500"/>
      </a:spcBef>
      <a:defRPr sz="800" kern="1200" spc="100" baseline="0">
        <a:solidFill>
          <a:schemeClr val="tx2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spcBef>
        <a:spcPts val="500"/>
      </a:spcBef>
      <a:defRPr sz="1000" b="0" kern="1200">
        <a:solidFill>
          <a:schemeClr val="bg2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784" userDrawn="1">
          <p15:clr>
            <a:srgbClr val="5ACBF0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 /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929D2AC-990B-5FA4-62BA-6BA955B6E3B4}"/>
              </a:ext>
            </a:extLst>
          </p:cNvPr>
          <p:cNvSpPr/>
          <p:nvPr userDrawn="1"/>
        </p:nvSpPr>
        <p:spPr>
          <a:xfrm>
            <a:off x="0" y="4888540"/>
            <a:ext cx="12192000" cy="6788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852E680-7FE1-DE48-BCE1-88668E0330BF}"/>
              </a:ext>
            </a:extLst>
          </p:cNvPr>
          <p:cNvSpPr/>
          <p:nvPr userDrawn="1"/>
        </p:nvSpPr>
        <p:spPr>
          <a:xfrm>
            <a:off x="0" y="6179126"/>
            <a:ext cx="12192000" cy="678874"/>
          </a:xfrm>
          <a:prstGeom prst="rect">
            <a:avLst/>
          </a:prstGeom>
          <a:solidFill>
            <a:srgbClr val="FFFFFF">
              <a:alpha val="6431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  <p:sp>
        <p:nvSpPr>
          <p:cNvPr id="31" name="Title Placeholder 1">
            <a:extLst>
              <a:ext uri="{FF2B5EF4-FFF2-40B4-BE49-F238E27FC236}">
                <a16:creationId xmlns:a16="http://schemas.microsoft.com/office/drawing/2014/main" id="{56B43C79-E8BF-0D4A-B82F-EC03481663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54" y="5037741"/>
            <a:ext cx="12165693" cy="3877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Deck Nam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93BB4B6-95B8-F14B-B498-A2C01E67D4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9792" y="6364398"/>
            <a:ext cx="5118049" cy="3046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Month XX,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963F2A-A669-DE4D-C111-8E77194848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775190" y="622422"/>
            <a:ext cx="6641619" cy="407721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6FA20AE-F4DD-E87C-8514-4C1304FAC5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790328" y="6347432"/>
            <a:ext cx="1158342" cy="427913"/>
          </a:xfrm>
          <a:prstGeom prst="rect">
            <a:avLst/>
          </a:prstGeom>
        </p:spPr>
      </p:pic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8C67894-A96E-5E42-1B90-5EA8E2FA9C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9890" y="6364398"/>
            <a:ext cx="1526189" cy="33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65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3407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orient="horz" pos="1253" userDrawn="1">
          <p15:clr>
            <a:srgbClr val="9FCC3B"/>
          </p15:clr>
        </p15:guide>
        <p15:guide id="5" pos="3557" userDrawn="1">
          <p15:clr>
            <a:srgbClr val="9FCC3B"/>
          </p15:clr>
        </p15:guide>
        <p15:guide id="6" pos="4123" userDrawn="1">
          <p15:clr>
            <a:srgbClr val="9FCC3B"/>
          </p15:clr>
        </p15:guide>
        <p15:guide id="7" orient="horz" pos="1650" userDrawn="1">
          <p15:clr>
            <a:srgbClr val="9FCC3B"/>
          </p15:clr>
        </p15:guide>
        <p15:guide id="8" orient="horz" pos="1480" userDrawn="1">
          <p15:clr>
            <a:srgbClr val="9FCC3B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1636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1 /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852E680-7FE1-DE48-BCE1-88668E0330BF}"/>
              </a:ext>
            </a:extLst>
          </p:cNvPr>
          <p:cNvSpPr/>
          <p:nvPr userDrawn="1"/>
        </p:nvSpPr>
        <p:spPr>
          <a:xfrm>
            <a:off x="0" y="6179126"/>
            <a:ext cx="12192000" cy="678874"/>
          </a:xfrm>
          <a:prstGeom prst="rect">
            <a:avLst/>
          </a:prstGeom>
          <a:solidFill>
            <a:srgbClr val="FFFFFF">
              <a:alpha val="6431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593360C-FFE1-9243-A412-1B3116A81E0F}"/>
              </a:ext>
            </a:extLst>
          </p:cNvPr>
          <p:cNvSpPr/>
          <p:nvPr userDrawn="1"/>
        </p:nvSpPr>
        <p:spPr>
          <a:xfrm>
            <a:off x="0" y="2799198"/>
            <a:ext cx="12192000" cy="1895631"/>
          </a:xfrm>
          <a:prstGeom prst="rect">
            <a:avLst/>
          </a:prstGeom>
          <a:solidFill>
            <a:srgbClr val="1945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C94D-AC51-0A44-B638-E4AE10D4C8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786" y="3208269"/>
            <a:ext cx="11568429" cy="747897"/>
          </a:xfrm>
        </p:spPr>
        <p:txBody>
          <a:bodyPr anchor="b"/>
          <a:lstStyle>
            <a:lvl1pPr algn="ctr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tion divider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72D1C39-EA7D-6A45-86C6-56F7E8279C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1786" y="4030049"/>
            <a:ext cx="11568429" cy="332399"/>
          </a:xfrm>
        </p:spPr>
        <p:txBody>
          <a:bodyPr/>
          <a:lstStyle>
            <a:lvl1pPr marL="0" indent="0" algn="ctr">
              <a:buNone/>
              <a:defRPr sz="2400" spc="0" baseline="0">
                <a:solidFill>
                  <a:schemeClr val="accent4"/>
                </a:solidFill>
              </a:defRPr>
            </a:lvl1pPr>
            <a:lvl2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2pPr>
            <a:lvl3pPr marL="0" indent="0" algn="ctr">
              <a:buNone/>
              <a:defRPr sz="1800">
                <a:solidFill>
                  <a:schemeClr val="tx1"/>
                </a:solidFill>
                <a:latin typeface="+mj-lt"/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 Tex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2F7D2A-262E-C92C-E588-644C427435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790328" y="6347432"/>
            <a:ext cx="1158342" cy="427913"/>
          </a:xfrm>
          <a:prstGeom prst="rect">
            <a:avLst/>
          </a:prstGeom>
        </p:spPr>
      </p:pic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5E21791-E01F-9CC7-0F31-823CAC0E42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9890" y="6364398"/>
            <a:ext cx="1526189" cy="3365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BE330B2-81C1-3A32-04AD-9BAC5B52A3E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184465" y="218749"/>
            <a:ext cx="3936792" cy="241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84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3407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orient="horz" pos="1253" userDrawn="1">
          <p15:clr>
            <a:srgbClr val="9FCC3B"/>
          </p15:clr>
        </p15:guide>
        <p15:guide id="5" pos="3557" userDrawn="1">
          <p15:clr>
            <a:srgbClr val="9FCC3B"/>
          </p15:clr>
        </p15:guide>
        <p15:guide id="6" pos="4123" userDrawn="1">
          <p15:clr>
            <a:srgbClr val="9FCC3B"/>
          </p15:clr>
        </p15:guide>
        <p15:guide id="7" orient="horz" pos="1650" userDrawn="1">
          <p15:clr>
            <a:srgbClr val="9FCC3B"/>
          </p15:clr>
        </p15:guide>
        <p15:guide id="8" orient="horz" pos="1480" userDrawn="1">
          <p15:clr>
            <a:srgbClr val="9FCC3B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itle /high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1ADB98-8BD4-4539-A4A1-4EFD0A11EE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556676"/>
            <a:ext cx="11160125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itle (one line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B18743-309D-45FF-8565-9574CE563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7" y="225540"/>
            <a:ext cx="1074012" cy="180049"/>
          </a:xfrm>
        </p:spPr>
        <p:txBody>
          <a:bodyPr wrap="none" anchor="b" anchorCtr="0">
            <a:spAutoFit/>
          </a:bodyPr>
          <a:lstStyle>
            <a:lvl1pPr>
              <a:defRPr sz="1300" spc="0" baseline="0">
                <a:solidFill>
                  <a:srgbClr val="A9AAAA"/>
                </a:solidFill>
                <a:latin typeface="+mj-lt"/>
              </a:defRPr>
            </a:lvl1pPr>
          </a:lstStyle>
          <a:p>
            <a:pPr lvl="0"/>
            <a:r>
              <a:rPr lang="en-GB"/>
              <a:t>Section header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E5DDDAB-0C6C-3D4B-8C7C-7F80F1D245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5534603"/>
            <a:ext cx="9720000" cy="234423"/>
          </a:xfrm>
        </p:spPr>
        <p:txBody>
          <a:bodyPr anchor="b" anchorCtr="0"/>
          <a:lstStyle>
            <a:lvl1pPr>
              <a:spcBef>
                <a:spcPts val="100"/>
              </a:spcBef>
              <a:defRPr sz="800" spc="0">
                <a:solidFill>
                  <a:srgbClr val="8C8E8D"/>
                </a:solidFill>
                <a:latin typeface="+mn-lt"/>
              </a:defRPr>
            </a:lvl1pPr>
            <a:lvl2pPr>
              <a:spcBef>
                <a:spcPts val="100"/>
              </a:spcBef>
              <a:defRPr sz="800" spc="0">
                <a:solidFill>
                  <a:srgbClr val="8C8E8D"/>
                </a:solidFill>
                <a:latin typeface="+mj-lt"/>
              </a:defRPr>
            </a:lvl2pPr>
            <a:lvl3pPr>
              <a:defRPr sz="800">
                <a:solidFill>
                  <a:schemeClr val="bg2"/>
                </a:solidFill>
              </a:defRPr>
            </a:lvl3pPr>
            <a:lvl4pPr>
              <a:defRPr sz="800">
                <a:solidFill>
                  <a:schemeClr val="bg2"/>
                </a:solidFill>
              </a:defRPr>
            </a:lvl4pPr>
            <a:lvl5pPr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Source note style #1. Use semi-colons to separate content and commas for abbreviations. No full stop required at end</a:t>
            </a:r>
          </a:p>
          <a:p>
            <a:pPr lvl="1"/>
            <a:r>
              <a:rPr lang="en-GB" dirty="0"/>
              <a:t>Source note style #2. Use semi-colons to separate content and commas for abbreviations. No full stop required at en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44F6F99-F9BD-7047-9C11-178942DE800A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68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32" userDrawn="1">
          <p15:clr>
            <a:srgbClr val="9FCC3B"/>
          </p15:clr>
        </p15:guide>
        <p15:guide id="8" orient="horz" pos="3917" userDrawn="1">
          <p15:clr>
            <a:srgbClr val="9FCC3B"/>
          </p15:clr>
        </p15:guide>
        <p15:guide id="10" pos="949" userDrawn="1">
          <p15:clr>
            <a:srgbClr val="9FCC3B"/>
          </p15:clr>
        </p15:guide>
        <p15:guide id="11" orient="horz" pos="686" userDrawn="1">
          <p15:clr>
            <a:srgbClr val="9FCC3B"/>
          </p15:clr>
        </p15:guide>
        <p15:guide id="12" orient="horz" pos="573" userDrawn="1">
          <p15:clr>
            <a:srgbClr val="9FCC3B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1 /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1ADB98-8BD4-4539-A4A1-4EFD0A11EE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 (two line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B4F79-1B18-4439-BF81-7C9E8D96362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5937" y="1574066"/>
            <a:ext cx="11160125" cy="13537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</a:lstStyle>
          <a:p>
            <a:pPr lvl="1"/>
            <a:r>
              <a:rPr lang="en-GB" dirty="0"/>
              <a:t>Body text</a:t>
            </a:r>
          </a:p>
          <a:p>
            <a:pPr lvl="2"/>
            <a:r>
              <a:rPr lang="en-GB" dirty="0"/>
              <a:t>Main bullet</a:t>
            </a:r>
          </a:p>
          <a:p>
            <a:pPr lvl="3"/>
            <a:r>
              <a:rPr lang="en-GB" dirty="0"/>
              <a:t>Sub bullet</a:t>
            </a:r>
          </a:p>
          <a:p>
            <a:pPr lvl="4"/>
            <a:r>
              <a:rPr lang="en-GB" dirty="0"/>
              <a:t>Mini bulle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B18743-309D-45FF-8565-9574CE563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7" y="225540"/>
            <a:ext cx="1074012" cy="180049"/>
          </a:xfrm>
        </p:spPr>
        <p:txBody>
          <a:bodyPr wrap="none" anchor="b" anchorCtr="0">
            <a:spAutoFit/>
          </a:bodyPr>
          <a:lstStyle>
            <a:lvl1pPr>
              <a:defRPr sz="1300" spc="0" baseline="0">
                <a:solidFill>
                  <a:srgbClr val="A9AAAA"/>
                </a:solidFill>
                <a:latin typeface="+mj-lt"/>
              </a:defRPr>
            </a:lvl1pPr>
          </a:lstStyle>
          <a:p>
            <a:pPr lvl="0"/>
            <a:r>
              <a:rPr lang="en-GB"/>
              <a:t>Section header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1F761F65-4594-D245-AE50-B4D43F2FC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5534603"/>
            <a:ext cx="9720000" cy="234423"/>
          </a:xfrm>
        </p:spPr>
        <p:txBody>
          <a:bodyPr anchor="b" anchorCtr="0"/>
          <a:lstStyle>
            <a:lvl1pPr>
              <a:spcBef>
                <a:spcPts val="100"/>
              </a:spcBef>
              <a:defRPr sz="800" spc="0">
                <a:solidFill>
                  <a:srgbClr val="8C8E8D"/>
                </a:solidFill>
                <a:latin typeface="+mn-lt"/>
              </a:defRPr>
            </a:lvl1pPr>
            <a:lvl2pPr>
              <a:spcBef>
                <a:spcPts val="100"/>
              </a:spcBef>
              <a:defRPr sz="800" spc="0">
                <a:solidFill>
                  <a:srgbClr val="8C8E8D"/>
                </a:solidFill>
                <a:latin typeface="+mj-lt"/>
              </a:defRPr>
            </a:lvl2pPr>
            <a:lvl3pPr>
              <a:defRPr sz="800">
                <a:solidFill>
                  <a:schemeClr val="bg2"/>
                </a:solidFill>
              </a:defRPr>
            </a:lvl3pPr>
            <a:lvl4pPr>
              <a:defRPr sz="800">
                <a:solidFill>
                  <a:schemeClr val="bg2"/>
                </a:solidFill>
              </a:defRPr>
            </a:lvl4pPr>
            <a:lvl5pPr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Source note style #1. Use semi-colons to separate content and commas for abbreviations. No full stop required at end</a:t>
            </a:r>
          </a:p>
          <a:p>
            <a:pPr lvl="1"/>
            <a:r>
              <a:rPr lang="en-GB" dirty="0"/>
              <a:t>Source note style #2. Use semi-colons to separate content and commas for abbreviations. No full stop required at en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053CDE-15DF-794F-8850-E6F9EE0D57C1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42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32" userDrawn="1">
          <p15:clr>
            <a:srgbClr val="9FCC3B"/>
          </p15:clr>
        </p15:guide>
        <p15:guide id="8" orient="horz" pos="3917" userDrawn="1">
          <p15:clr>
            <a:srgbClr val="9FCC3B"/>
          </p15:clr>
        </p15:guide>
        <p15:guide id="9" orient="horz" pos="743" userDrawn="1">
          <p15:clr>
            <a:srgbClr val="9FCC3B"/>
          </p15:clr>
        </p15:guide>
        <p15:guide id="10" orient="horz" pos="1026" userDrawn="1">
          <p15:clr>
            <a:srgbClr val="9FCC3B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le /high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1ADB98-8BD4-4539-A4A1-4EFD0A11EE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556676"/>
            <a:ext cx="11160125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itle (one line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B18743-309D-45FF-8565-9574CE563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7" y="225540"/>
            <a:ext cx="1074012" cy="180049"/>
          </a:xfrm>
        </p:spPr>
        <p:txBody>
          <a:bodyPr wrap="none" anchor="b" anchorCtr="0">
            <a:spAutoFit/>
          </a:bodyPr>
          <a:lstStyle>
            <a:lvl1pPr>
              <a:defRPr sz="1300" spc="0" baseline="0">
                <a:solidFill>
                  <a:srgbClr val="A9AAAA"/>
                </a:solidFill>
                <a:latin typeface="+mj-lt"/>
              </a:defRPr>
            </a:lvl1pPr>
          </a:lstStyle>
          <a:p>
            <a:pPr lvl="0"/>
            <a:r>
              <a:rPr lang="en-GB"/>
              <a:t>Section header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EEEF3B-D0FF-4A87-BB1F-6FC2F87B8738}"/>
              </a:ext>
            </a:extLst>
          </p:cNvPr>
          <p:cNvCxnSpPr/>
          <p:nvPr userDrawn="1"/>
        </p:nvCxnSpPr>
        <p:spPr>
          <a:xfrm>
            <a:off x="515938" y="1088974"/>
            <a:ext cx="108000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B45E1DC-D0EC-644D-815A-6F39210C6E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5937" y="1277079"/>
            <a:ext cx="11160125" cy="13537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1"/>
            <a:r>
              <a:rPr lang="en-GB" dirty="0"/>
              <a:t>Body text</a:t>
            </a:r>
          </a:p>
          <a:p>
            <a:pPr lvl="2"/>
            <a:r>
              <a:rPr lang="en-GB" dirty="0"/>
              <a:t>Main bullet</a:t>
            </a:r>
          </a:p>
          <a:p>
            <a:pPr lvl="3"/>
            <a:r>
              <a:rPr lang="en-GB" dirty="0"/>
              <a:t>Sub bullet</a:t>
            </a:r>
          </a:p>
          <a:p>
            <a:pPr lvl="4"/>
            <a:r>
              <a:rPr lang="en-GB" dirty="0"/>
              <a:t>Mini bulle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FF23C8-70F9-EC43-A291-AC65AFBEE6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5534603"/>
            <a:ext cx="9720000" cy="234423"/>
          </a:xfrm>
        </p:spPr>
        <p:txBody>
          <a:bodyPr anchor="b" anchorCtr="0"/>
          <a:lstStyle>
            <a:lvl1pPr>
              <a:spcBef>
                <a:spcPts val="100"/>
              </a:spcBef>
              <a:defRPr sz="800" spc="0">
                <a:solidFill>
                  <a:srgbClr val="8C8E8D"/>
                </a:solidFill>
                <a:latin typeface="+mn-lt"/>
              </a:defRPr>
            </a:lvl1pPr>
            <a:lvl2pPr>
              <a:spcBef>
                <a:spcPts val="100"/>
              </a:spcBef>
              <a:defRPr sz="800" spc="0">
                <a:solidFill>
                  <a:srgbClr val="8C8E8D"/>
                </a:solidFill>
                <a:latin typeface="+mj-lt"/>
              </a:defRPr>
            </a:lvl2pPr>
            <a:lvl3pPr>
              <a:defRPr sz="800">
                <a:solidFill>
                  <a:schemeClr val="bg2"/>
                </a:solidFill>
              </a:defRPr>
            </a:lvl3pPr>
            <a:lvl4pPr>
              <a:defRPr sz="800">
                <a:solidFill>
                  <a:schemeClr val="bg2"/>
                </a:solidFill>
              </a:defRPr>
            </a:lvl4pPr>
            <a:lvl5pPr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Source note style #1. Use semi-colons to separate content and commas for abbreviations. No full stop required at end</a:t>
            </a:r>
          </a:p>
          <a:p>
            <a:pPr lvl="1"/>
            <a:r>
              <a:rPr lang="en-GB" dirty="0"/>
              <a:t>Source note style #2. Use semi-colons to separate content and commas for abbreviations. No full stop required at en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0DAC6C-BE8F-A541-BEA3-C4137AA67614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82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32" userDrawn="1">
          <p15:clr>
            <a:srgbClr val="9FCC3B"/>
          </p15:clr>
        </p15:guide>
        <p15:guide id="8" orient="horz" pos="3917" userDrawn="1">
          <p15:clr>
            <a:srgbClr val="9FCC3B"/>
          </p15:clr>
        </p15:guide>
        <p15:guide id="10" pos="949" userDrawn="1">
          <p15:clr>
            <a:srgbClr val="9FCC3B"/>
          </p15:clr>
        </p15:guide>
        <p15:guide id="11" orient="horz" pos="686" userDrawn="1">
          <p15:clr>
            <a:srgbClr val="9FCC3B"/>
          </p15:clr>
        </p15:guide>
        <p15:guide id="12" orient="horz" pos="573" userDrawn="1">
          <p15:clr>
            <a:srgbClr val="9FCC3B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/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CFF2D62-F486-EE49-9D06-4BCB89BBBE42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46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0AA243-C3DC-E548-A18F-56B4081F92AE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solidFill>
            <a:srgbClr val="FF4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17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5B9E12-8F53-C74D-ACF6-5C5841BDF4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5747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15B9E12-8F53-C74D-ACF6-5C5841BDF4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F8D8092-2468-D648-A089-3B1A952729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0755A1-263A-3047-860B-B811081C9C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523A240F-EAFE-E84F-B44C-6D7A08E0E40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157959E-651B-B14F-BA5B-24DA1DB0858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95514" y="6374651"/>
            <a:ext cx="7772400" cy="245223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a footnote</a:t>
            </a:r>
          </a:p>
        </p:txBody>
      </p:sp>
    </p:spTree>
    <p:extLst>
      <p:ext uri="{BB962C8B-B14F-4D97-AF65-F5344CB8AC3E}">
        <p14:creationId xmlns:p14="http://schemas.microsoft.com/office/powerpoint/2010/main" val="849579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31557021-9425-4ECB-8455-37A42D497BD0}" type="datetimeFigureOut">
              <a:rPr lang="en-US">
                <a:solidFill>
                  <a:prstClr val="black"/>
                </a:solidFill>
                <a:latin typeface="Corbel"/>
              </a:rPr>
              <a:pPr/>
              <a:t>10/23/2025</a:t>
            </a:fld>
            <a:endParaRPr lang="en-US">
              <a:solidFill>
                <a:prstClr val="black"/>
              </a:solidFill>
              <a:latin typeface="Corbe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005408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6D93FB-C225-4CC1-81D5-3E7930115D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77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CF1F6"/>
            </a:gs>
            <a:gs pos="70000">
              <a:srgbClr val="ECF1F6"/>
            </a:gs>
            <a:gs pos="50000">
              <a:schemeClr val="bg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558A46D-AF04-47DE-8600-51C1E8516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832452"/>
            <a:ext cx="11160125" cy="4431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GB" dirty="0"/>
              <a:t>Slid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6788BF-F29C-4BD6-8195-7C6A455DBE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574066"/>
            <a:ext cx="11160125" cy="17866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/>
              <a:t>SUBTITLE IN CAPS</a:t>
            </a:r>
          </a:p>
          <a:p>
            <a:pPr lvl="1"/>
            <a:r>
              <a:rPr lang="en-GB" dirty="0"/>
              <a:t>Body text</a:t>
            </a:r>
          </a:p>
          <a:p>
            <a:pPr lvl="2"/>
            <a:r>
              <a:rPr lang="en-GB" dirty="0"/>
              <a:t>Main bullet</a:t>
            </a:r>
          </a:p>
          <a:p>
            <a:pPr lvl="3"/>
            <a:r>
              <a:rPr lang="en-GB" dirty="0"/>
              <a:t>Sub bullet</a:t>
            </a:r>
          </a:p>
          <a:p>
            <a:pPr lvl="4"/>
            <a:r>
              <a:rPr lang="en-GB" dirty="0"/>
              <a:t>Mini bullet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DCB58486-7855-4C32-936E-815EC53CCD09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4480560" y="6217920"/>
            <a:ext cx="7711440" cy="640080"/>
          </a:xfrm>
          <a:custGeom>
            <a:avLst/>
            <a:gdLst>
              <a:gd name="connsiteX0" fmla="*/ 1488939 w 2315958"/>
              <a:gd name="connsiteY0" fmla="*/ 0 h 814629"/>
              <a:gd name="connsiteX1" fmla="*/ 1440155 w 2315958"/>
              <a:gd name="connsiteY1" fmla="*/ 0 h 814629"/>
              <a:gd name="connsiteX2" fmla="*/ 1328575 w 2315958"/>
              <a:gd name="connsiteY2" fmla="*/ 0 h 814629"/>
              <a:gd name="connsiteX3" fmla="*/ 1319558 w 2315958"/>
              <a:gd name="connsiteY3" fmla="*/ 0 h 814629"/>
              <a:gd name="connsiteX4" fmla="*/ 0 w 2315958"/>
              <a:gd name="connsiteY4" fmla="*/ 0 h 814629"/>
              <a:gd name="connsiteX5" fmla="*/ 0 w 2315958"/>
              <a:gd name="connsiteY5" fmla="*/ 814629 h 814629"/>
              <a:gd name="connsiteX6" fmla="*/ 1319558 w 2315958"/>
              <a:gd name="connsiteY6" fmla="*/ 814629 h 814629"/>
              <a:gd name="connsiteX7" fmla="*/ 1350829 w 2315958"/>
              <a:gd name="connsiteY7" fmla="*/ 814629 h 814629"/>
              <a:gd name="connsiteX8" fmla="*/ 1440155 w 2315958"/>
              <a:gd name="connsiteY8" fmla="*/ 814629 h 814629"/>
              <a:gd name="connsiteX9" fmla="*/ 1520716 w 2315958"/>
              <a:gd name="connsiteY9" fmla="*/ 814629 h 814629"/>
              <a:gd name="connsiteX10" fmla="*/ 2315958 w 2315958"/>
              <a:gd name="connsiteY10" fmla="*/ 814629 h 814629"/>
              <a:gd name="connsiteX11" fmla="*/ 1849210 w 2315958"/>
              <a:gd name="connsiteY11" fmla="*/ 373040 h 814629"/>
              <a:gd name="connsiteX12" fmla="*/ 1488939 w 2315958"/>
              <a:gd name="connsiteY12" fmla="*/ 0 h 81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15958" h="814629">
                <a:moveTo>
                  <a:pt x="1488939" y="0"/>
                </a:moveTo>
                <a:lnTo>
                  <a:pt x="1440155" y="0"/>
                </a:lnTo>
                <a:lnTo>
                  <a:pt x="1328575" y="0"/>
                </a:lnTo>
                <a:lnTo>
                  <a:pt x="1319558" y="0"/>
                </a:lnTo>
                <a:lnTo>
                  <a:pt x="0" y="0"/>
                </a:lnTo>
                <a:lnTo>
                  <a:pt x="0" y="814629"/>
                </a:lnTo>
                <a:lnTo>
                  <a:pt x="1319558" y="814629"/>
                </a:lnTo>
                <a:lnTo>
                  <a:pt x="1350829" y="814629"/>
                </a:lnTo>
                <a:lnTo>
                  <a:pt x="1440155" y="814629"/>
                </a:lnTo>
                <a:lnTo>
                  <a:pt x="1520716" y="814629"/>
                </a:lnTo>
                <a:cubicBezTo>
                  <a:pt x="2315958" y="814629"/>
                  <a:pt x="2315958" y="814629"/>
                  <a:pt x="2315958" y="814629"/>
                </a:cubicBezTo>
                <a:cubicBezTo>
                  <a:pt x="2073833" y="814629"/>
                  <a:pt x="1955687" y="580284"/>
                  <a:pt x="1849210" y="373040"/>
                </a:cubicBezTo>
                <a:cubicBezTo>
                  <a:pt x="1751485" y="181737"/>
                  <a:pt x="1659594" y="0"/>
                  <a:pt x="148893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9E1590-3970-0E4B-B2C4-5CCE1B0816B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rcRect/>
          <a:stretch/>
        </p:blipFill>
        <p:spPr>
          <a:xfrm>
            <a:off x="8790328" y="6347432"/>
            <a:ext cx="1158342" cy="427913"/>
          </a:xfrm>
          <a:prstGeom prst="rect">
            <a:avLst/>
          </a:prstGeom>
        </p:spPr>
      </p:pic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8EDE62A-AC08-8222-35B8-910E76F387A4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9890" y="6364398"/>
            <a:ext cx="1526189" cy="336584"/>
          </a:xfrm>
          <a:prstGeom prst="rect">
            <a:avLst/>
          </a:prstGeom>
        </p:spPr>
      </p:pic>
      <p:pic>
        <p:nvPicPr>
          <p:cNvPr id="7" name="Picture 6" descr="A black background with blue text&#10;&#10;Description automatically generated">
            <a:extLst>
              <a:ext uri="{FF2B5EF4-FFF2-40B4-BE49-F238E27FC236}">
                <a16:creationId xmlns:a16="http://schemas.microsoft.com/office/drawing/2014/main" id="{7FF4960C-5AF3-89A2-97B7-9342C5BCEEF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19918" y="6127173"/>
            <a:ext cx="3287210" cy="635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194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78" r:id="rId2"/>
    <p:sldLayoutId id="2147483976" r:id="rId3"/>
    <p:sldLayoutId id="2147483943" r:id="rId4"/>
    <p:sldLayoutId id="2147483951" r:id="rId5"/>
    <p:sldLayoutId id="2147483959" r:id="rId6"/>
    <p:sldLayoutId id="2147483960" r:id="rId7"/>
    <p:sldLayoutId id="2147483979" r:id="rId8"/>
    <p:sldLayoutId id="2147483981" r:id="rId9"/>
    <p:sldLayoutId id="2147483982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C1D52F"/>
        </a:buClr>
        <a:buFont typeface="Franklin Gothic Book" panose="020B0503020102020204" pitchFamily="34" charset="0"/>
        <a:buNone/>
        <a:defRPr sz="2200" b="0" kern="1200" spc="200" baseline="0">
          <a:solidFill>
            <a:schemeClr val="accent6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C1D52F"/>
        </a:buClr>
        <a:buFont typeface="Franklin Gothic Book" panose="020B0503020102020204" pitchFamily="34" charset="0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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342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04000" indent="-18000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Franklin Gothic Book" panose="020B05030201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Franklin Gothic Book" panose="020B05030201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Franklin Gothic Book" panose="020B05030201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Franklin Gothic Book" panose="020B05030201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Franklin Gothic Book" panose="020B05030201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0" orient="horz" pos="2160">
          <p15:clr>
            <a:srgbClr val="5ACBF0"/>
          </p15:clr>
        </p15:guide>
        <p15:guide id="41" pos="3840">
          <p15:clr>
            <a:srgbClr val="5ACBF0"/>
          </p15:clr>
        </p15:guide>
        <p15:guide id="42" pos="182" userDrawn="1">
          <p15:clr>
            <a:srgbClr val="5ACBF0"/>
          </p15:clr>
        </p15:guide>
        <p15:guide id="43" pos="325">
          <p15:clr>
            <a:srgbClr val="9FCC3B"/>
          </p15:clr>
        </p15:guide>
        <p15:guide id="44" pos="438">
          <p15:clr>
            <a:srgbClr val="5ACBF0"/>
          </p15:clr>
        </p15:guide>
        <p15:guide id="45" pos="7469">
          <p15:clr>
            <a:srgbClr val="5ACBF0"/>
          </p15:clr>
        </p15:guide>
        <p15:guide id="46" pos="7355">
          <p15:clr>
            <a:srgbClr val="9FCC3B"/>
          </p15:clr>
        </p15:guide>
        <p15:guide id="47" pos="7242">
          <p15:clr>
            <a:srgbClr val="5ACBF0"/>
          </p15:clr>
        </p15:guide>
        <p15:guide id="48" orient="horz" pos="743">
          <p15:clr>
            <a:srgbClr val="5ACBF0"/>
          </p15:clr>
        </p15:guide>
        <p15:guide id="49" orient="horz" pos="1026">
          <p15:clr>
            <a:srgbClr val="5ACBF0"/>
          </p15:clr>
        </p15:guide>
        <p15:guide id="50" pos="542">
          <p15:clr>
            <a:srgbClr val="5ACBF0"/>
          </p15:clr>
        </p15:guide>
        <p15:guide id="51" orient="horz" pos="4031">
          <p15:clr>
            <a:srgbClr val="5ACBF0"/>
          </p15:clr>
        </p15:guide>
        <p15:guide id="52" orient="horz" pos="4232" userDrawn="1">
          <p15:clr>
            <a:srgbClr val="5ACBF0"/>
          </p15:clr>
        </p15:guide>
        <p15:guide id="53" orient="horz" pos="3747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D4E15-C72D-A846-8A5A-F6AF5151BD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991084"/>
            <a:ext cx="12165693" cy="387798"/>
          </a:xfrm>
        </p:spPr>
        <p:txBody>
          <a:bodyPr/>
          <a:lstStyle/>
          <a:p>
            <a:r>
              <a:rPr lang="en-US" dirty="0"/>
              <a:t> KRAS G12C Inhibitors </a:t>
            </a:r>
            <a:r>
              <a:rPr lang="en-US" u="sng" dirty="0"/>
              <a:t>Should Not</a:t>
            </a:r>
            <a:r>
              <a:rPr lang="en-US" dirty="0"/>
              <a:t> Be Given With Immunothera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867F8F-43AD-4842-92E5-F031CB56F7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regory J. Riely October 2025</a:t>
            </a:r>
          </a:p>
        </p:txBody>
      </p:sp>
    </p:spTree>
    <p:extLst>
      <p:ext uri="{BB962C8B-B14F-4D97-AF65-F5344CB8AC3E}">
        <p14:creationId xmlns:p14="http://schemas.microsoft.com/office/powerpoint/2010/main" val="114018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991AD01-66CF-E63B-46D9-420D259D0A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7372735"/>
              </p:ext>
            </p:extLst>
          </p:nvPr>
        </p:nvGraphicFramePr>
        <p:xfrm>
          <a:off x="1182757" y="1832849"/>
          <a:ext cx="9640956" cy="3232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0239">
                  <a:extLst>
                    <a:ext uri="{9D8B030D-6E8A-4147-A177-3AD203B41FA5}">
                      <a16:colId xmlns:a16="http://schemas.microsoft.com/office/drawing/2014/main" val="443683190"/>
                    </a:ext>
                  </a:extLst>
                </a:gridCol>
                <a:gridCol w="2410239">
                  <a:extLst>
                    <a:ext uri="{9D8B030D-6E8A-4147-A177-3AD203B41FA5}">
                      <a16:colId xmlns:a16="http://schemas.microsoft.com/office/drawing/2014/main" val="3096529073"/>
                    </a:ext>
                  </a:extLst>
                </a:gridCol>
                <a:gridCol w="2410239">
                  <a:extLst>
                    <a:ext uri="{9D8B030D-6E8A-4147-A177-3AD203B41FA5}">
                      <a16:colId xmlns:a16="http://schemas.microsoft.com/office/drawing/2014/main" val="1704656418"/>
                    </a:ext>
                  </a:extLst>
                </a:gridCol>
                <a:gridCol w="2410239">
                  <a:extLst>
                    <a:ext uri="{9D8B030D-6E8A-4147-A177-3AD203B41FA5}">
                      <a16:colId xmlns:a16="http://schemas.microsoft.com/office/drawing/2014/main" val="1398666060"/>
                    </a:ext>
                  </a:extLst>
                </a:gridCol>
              </a:tblGrid>
              <a:tr h="1743472">
                <a:tc>
                  <a:txBody>
                    <a:bodyPr/>
                    <a:lstStyle/>
                    <a:p>
                      <a:endParaRPr lang="en-US" sz="2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Adagrasib </a:t>
                      </a:r>
                    </a:p>
                    <a:p>
                      <a:pPr algn="ctr"/>
                      <a:r>
                        <a:rPr lang="en-US" sz="2000" b="0" dirty="0"/>
                        <a:t>(2</a:t>
                      </a:r>
                      <a:r>
                        <a:rPr lang="en-US" sz="2000" b="0" baseline="30000" dirty="0"/>
                        <a:t>nd</a:t>
                      </a:r>
                      <a:r>
                        <a:rPr lang="en-US" sz="2000" b="0" dirty="0"/>
                        <a:t> line)</a:t>
                      </a:r>
                      <a:endParaRPr lang="en-US" sz="2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/>
                        <a:t>Pembrolizumab</a:t>
                      </a:r>
                      <a:r>
                        <a:rPr lang="en-US" sz="2800" dirty="0"/>
                        <a:t> </a:t>
                      </a:r>
                      <a:r>
                        <a:rPr lang="en-US" sz="2000" b="0" dirty="0"/>
                        <a:t>(2</a:t>
                      </a:r>
                      <a:r>
                        <a:rPr lang="en-US" sz="2000" b="0" baseline="30000" dirty="0"/>
                        <a:t>nd</a:t>
                      </a:r>
                      <a:r>
                        <a:rPr lang="en-US" sz="2000" b="0" dirty="0"/>
                        <a:t> line, PD-L1 positive)</a:t>
                      </a:r>
                      <a:endParaRPr lang="en-US" sz="2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Adagrasib + </a:t>
                      </a:r>
                      <a:r>
                        <a:rPr lang="en-US" sz="2600" dirty="0"/>
                        <a:t>Pembrolizumab</a:t>
                      </a:r>
                      <a:r>
                        <a:rPr lang="en-US" sz="2800" dirty="0"/>
                        <a:t> </a:t>
                      </a:r>
                      <a:r>
                        <a:rPr lang="en-US" sz="2000" dirty="0"/>
                        <a:t>(</a:t>
                      </a:r>
                      <a:r>
                        <a:rPr lang="en-US" sz="2000" b="1" dirty="0"/>
                        <a:t>1</a:t>
                      </a:r>
                      <a:r>
                        <a:rPr lang="en-US" sz="2000" b="1" baseline="30000" dirty="0"/>
                        <a:t>st</a:t>
                      </a:r>
                      <a:r>
                        <a:rPr lang="en-US" sz="2000" b="1" dirty="0"/>
                        <a:t> line</a:t>
                      </a:r>
                      <a:r>
                        <a:rPr lang="en-US" sz="2000" dirty="0"/>
                        <a:t>)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2596116"/>
                  </a:ext>
                </a:extLst>
              </a:tr>
              <a:tr h="938793">
                <a:tc>
                  <a:txBody>
                    <a:bodyPr/>
                    <a:lstStyle/>
                    <a:p>
                      <a:r>
                        <a:rPr lang="en-US" sz="2800" dirty="0"/>
                        <a:t>Response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4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6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6979362"/>
                  </a:ext>
                </a:extLst>
              </a:tr>
              <a:tr h="543904">
                <a:tc>
                  <a:txBody>
                    <a:bodyPr/>
                    <a:lstStyle/>
                    <a:p>
                      <a:r>
                        <a:rPr lang="en-US" sz="2800" dirty="0" err="1"/>
                        <a:t>mPFS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6.5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5.3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11 month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3279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75EBD27-3C8E-CC6B-DADB-C8B23CF7E989}"/>
              </a:ext>
            </a:extLst>
          </p:cNvPr>
          <p:cNvSpPr txBox="1"/>
          <p:nvPr/>
        </p:nvSpPr>
        <p:spPr>
          <a:xfrm>
            <a:off x="1182757" y="437320"/>
            <a:ext cx="89153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NCI definition of </a:t>
            </a:r>
            <a:r>
              <a:rPr lang="en-US" sz="2400" b="1" i="1" dirty="0"/>
              <a:t>synergy</a:t>
            </a:r>
            <a:r>
              <a:rPr lang="en-US" sz="2400" dirty="0"/>
              <a:t>: interaction of two or more drugs when their combined effect is greater than the sum of the effects seen when each drug is given alo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628605-AC7B-66D0-165F-ECAECDAC9AF1}"/>
              </a:ext>
            </a:extLst>
          </p:cNvPr>
          <p:cNvSpPr txBox="1"/>
          <p:nvPr/>
        </p:nvSpPr>
        <p:spPr>
          <a:xfrm>
            <a:off x="4874143" y="6488668"/>
            <a:ext cx="71520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/>
              <a:t>Janne et al, NEJM 2022; Herbst et al, JTO 2021; Janne et al ASCO 202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695EB93-4953-F21C-009C-34149A5E2177}"/>
              </a:ext>
            </a:extLst>
          </p:cNvPr>
          <p:cNvSpPr txBox="1"/>
          <p:nvPr/>
        </p:nvSpPr>
        <p:spPr>
          <a:xfrm>
            <a:off x="4732113" y="5399453"/>
            <a:ext cx="34263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 b="1" dirty="0"/>
              <a:t>Synergy? …I think not</a:t>
            </a:r>
          </a:p>
        </p:txBody>
      </p:sp>
    </p:spTree>
    <p:extLst>
      <p:ext uri="{BB962C8B-B14F-4D97-AF65-F5344CB8AC3E}">
        <p14:creationId xmlns:p14="http://schemas.microsoft.com/office/powerpoint/2010/main" val="43173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7060" y="2803849"/>
            <a:ext cx="7317878" cy="90859"/>
          </a:xfrm>
        </p:spPr>
        <p:txBody>
          <a:bodyPr/>
          <a:lstStyle/>
          <a:p>
            <a:r>
              <a:rPr lang="en-US" sz="656" b="1" dirty="0">
                <a:latin typeface="Arial" charset="0"/>
                <a:ea typeface="+mn-ea"/>
                <a:cs typeface="+mn-cs"/>
              </a:rPr>
              <a:t>Efficacy in KRAS G12Ci-naïve Solid Tumors &lt;br /&gt;(Non-CRC and CRC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" t="17958"/>
          <a:stretch/>
        </p:blipFill>
        <p:spPr bwMode="auto">
          <a:xfrm>
            <a:off x="149087" y="1197791"/>
            <a:ext cx="11326548" cy="5267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862454E-C3FD-5FA6-0E8B-9B611EF1D3EB}"/>
              </a:ext>
            </a:extLst>
          </p:cNvPr>
          <p:cNvSpPr txBox="1">
            <a:spLocks/>
          </p:cNvSpPr>
          <p:nvPr/>
        </p:nvSpPr>
        <p:spPr>
          <a:xfrm>
            <a:off x="239486" y="310183"/>
            <a:ext cx="11160125" cy="4431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Olomorasib</a:t>
            </a:r>
            <a:r>
              <a:rPr lang="en-US" dirty="0"/>
              <a:t> – single-agent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0DED002-E35B-3F80-0C8D-59671ABF732F}"/>
              </a:ext>
            </a:extLst>
          </p:cNvPr>
          <p:cNvSpPr txBox="1"/>
          <p:nvPr/>
        </p:nvSpPr>
        <p:spPr>
          <a:xfrm>
            <a:off x="9343292" y="6540172"/>
            <a:ext cx="23999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/>
              <a:t>Heist et al, ASCO 2024</a:t>
            </a:r>
          </a:p>
        </p:txBody>
      </p:sp>
    </p:spTree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89DFB75-A792-6F54-29D9-D51A394691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B2F40-6F6F-EBD6-2662-5808E04733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7060" y="2803849"/>
            <a:ext cx="7317878" cy="90859"/>
          </a:xfrm>
        </p:spPr>
        <p:txBody>
          <a:bodyPr/>
          <a:lstStyle/>
          <a:p>
            <a:r>
              <a:rPr lang="en-US" sz="656" b="1" dirty="0">
                <a:latin typeface="Arial" charset="0"/>
                <a:ea typeface="+mn-ea"/>
                <a:cs typeface="+mn-cs"/>
              </a:rPr>
              <a:t>Efficacy in KRAS G12Ci-naïve Solid Tumors &lt;br /&gt;(Non-CRC and CRC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BB4D5C-0951-EBB8-2B22-8CB0455AA8EF}"/>
              </a:ext>
            </a:extLst>
          </p:cNvPr>
          <p:cNvSpPr txBox="1">
            <a:spLocks/>
          </p:cNvSpPr>
          <p:nvPr/>
        </p:nvSpPr>
        <p:spPr>
          <a:xfrm>
            <a:off x="239486" y="310183"/>
            <a:ext cx="11160125" cy="4431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Olomorasib</a:t>
            </a:r>
            <a:r>
              <a:rPr lang="en-US" dirty="0"/>
              <a:t> – single-agent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F1C6A6-0EB8-4667-FEE9-7E0743EFD2D0}"/>
              </a:ext>
            </a:extLst>
          </p:cNvPr>
          <p:cNvSpPr txBox="1"/>
          <p:nvPr/>
        </p:nvSpPr>
        <p:spPr>
          <a:xfrm>
            <a:off x="9343292" y="6540172"/>
            <a:ext cx="23999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/>
              <a:t>Heist et al, ASCO 2024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C82765-DB67-940E-D665-17C3F820DA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169" t="4785" r="1809" b="15907"/>
          <a:stretch/>
        </p:blipFill>
        <p:spPr>
          <a:xfrm>
            <a:off x="354623" y="1104420"/>
            <a:ext cx="10046677" cy="508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876996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B5F712A-F815-94F5-9372-79F842944D3A}"/>
              </a:ext>
            </a:extLst>
          </p:cNvPr>
          <p:cNvSpPr txBox="1"/>
          <p:nvPr/>
        </p:nvSpPr>
        <p:spPr>
          <a:xfrm>
            <a:off x="8884508" y="6400800"/>
            <a:ext cx="27463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/>
              <a:t>Johnson et al, WCLC 2025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F3448C8-8C0D-72BA-CC07-356527AEBD65}"/>
              </a:ext>
            </a:extLst>
          </p:cNvPr>
          <p:cNvSpPr txBox="1">
            <a:spLocks/>
          </p:cNvSpPr>
          <p:nvPr/>
        </p:nvSpPr>
        <p:spPr>
          <a:xfrm>
            <a:off x="239486" y="310183"/>
            <a:ext cx="11160125" cy="4431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Olomorasib</a:t>
            </a:r>
            <a:r>
              <a:rPr lang="en-US" dirty="0"/>
              <a:t> + chemotherapy in first line </a:t>
            </a:r>
          </a:p>
        </p:txBody>
      </p:sp>
      <p:pic>
        <p:nvPicPr>
          <p:cNvPr id="6" name="Picture 5" descr="A graph of a patient's blood test&#10;&#10;AI-generated content may be incorrect.">
            <a:extLst>
              <a:ext uri="{FF2B5EF4-FFF2-40B4-BE49-F238E27FC236}">
                <a16:creationId xmlns:a16="http://schemas.microsoft.com/office/drawing/2014/main" id="{E43D8F23-8E18-A0BD-7E2A-EAED8EE6900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980"/>
          <a:stretch/>
        </p:blipFill>
        <p:spPr>
          <a:xfrm>
            <a:off x="239486" y="925724"/>
            <a:ext cx="8376976" cy="618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86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2E84BF0-137C-8E4F-C85D-14364CA442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959D6D4-9D41-23C2-3E57-E37891CE72D3}"/>
              </a:ext>
            </a:extLst>
          </p:cNvPr>
          <p:cNvSpPr txBox="1"/>
          <p:nvPr/>
        </p:nvSpPr>
        <p:spPr>
          <a:xfrm>
            <a:off x="8884508" y="6400800"/>
            <a:ext cx="27463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/>
              <a:t>Johnson et al, WCLC 2025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15DFE1E-E3A1-3FB7-90BC-3489AFBBC412}"/>
              </a:ext>
            </a:extLst>
          </p:cNvPr>
          <p:cNvSpPr txBox="1">
            <a:spLocks/>
          </p:cNvSpPr>
          <p:nvPr/>
        </p:nvSpPr>
        <p:spPr>
          <a:xfrm>
            <a:off x="239486" y="310183"/>
            <a:ext cx="11160125" cy="4431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Olomorasib</a:t>
            </a:r>
            <a:r>
              <a:rPr lang="en-US" dirty="0"/>
              <a:t> + chemotherapy in first line </a:t>
            </a:r>
          </a:p>
        </p:txBody>
      </p:sp>
      <p:pic>
        <p:nvPicPr>
          <p:cNvPr id="6" name="Picture 5" descr="A graph of a patient's blood test&#10;&#10;AI-generated content may be incorrect.">
            <a:extLst>
              <a:ext uri="{FF2B5EF4-FFF2-40B4-BE49-F238E27FC236}">
                <a16:creationId xmlns:a16="http://schemas.microsoft.com/office/drawing/2014/main" id="{8F89D77E-D783-32C3-BB2E-012FA00AB5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314" y="895408"/>
            <a:ext cx="7176287" cy="5762613"/>
          </a:xfrm>
          <a:prstGeom prst="rect">
            <a:avLst/>
          </a:prstGeom>
        </p:spPr>
      </p:pic>
      <p:pic>
        <p:nvPicPr>
          <p:cNvPr id="5" name="Picture 4" descr="A blue and white sign with white text&#10;&#10;AI-generated content may be incorrect.">
            <a:extLst>
              <a:ext uri="{FF2B5EF4-FFF2-40B4-BE49-F238E27FC236}">
                <a16:creationId xmlns:a16="http://schemas.microsoft.com/office/drawing/2014/main" id="{E42E8F74-5A68-EE65-DAC1-71B9C5C3BB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9601" y="1905219"/>
            <a:ext cx="4486901" cy="334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0677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9C274-B61D-2D43-DB9C-1E2F5D717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bate 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D6C603-135A-D0B8-8B4D-5BF3803DFC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574066"/>
            <a:ext cx="11160125" cy="2645853"/>
          </a:xfrm>
        </p:spPr>
        <p:txBody>
          <a:bodyPr/>
          <a:lstStyle/>
          <a:p>
            <a:r>
              <a:rPr lang="en-US" dirty="0"/>
              <a:t>Combining KRAS G12C targeted therapies with checkpoint inhibitors increases the toxicity of these agents</a:t>
            </a:r>
          </a:p>
          <a:p>
            <a:endParaRPr lang="en-US" dirty="0"/>
          </a:p>
          <a:p>
            <a:r>
              <a:rPr lang="en-US" dirty="0"/>
              <a:t>There is no clear class effect showing synergy between KRAS G12C targeted therapies and immune checkpoint inhibitors</a:t>
            </a:r>
          </a:p>
          <a:p>
            <a:endParaRPr lang="en-US" dirty="0"/>
          </a:p>
          <a:p>
            <a:r>
              <a:rPr lang="en-US" dirty="0"/>
              <a:t>There may be individual drugs where synergy is present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CABB02-A944-4AA4-73AB-AD0674E7D358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85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8197E-129A-7927-F152-4967CB3EF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ongoing trial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2AE3A9-1B2C-158C-16B4-88CC0C995D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574066"/>
            <a:ext cx="11160125" cy="5243487"/>
          </a:xfrm>
        </p:spPr>
        <p:txBody>
          <a:bodyPr/>
          <a:lstStyle/>
          <a:p>
            <a:r>
              <a:rPr lang="en-US" dirty="0" err="1"/>
              <a:t>Krascendo</a:t>
            </a:r>
            <a:r>
              <a:rPr lang="en-US" dirty="0"/>
              <a:t> 2 – pembrolizumab + </a:t>
            </a:r>
            <a:r>
              <a:rPr lang="en-US" dirty="0" err="1"/>
              <a:t>divarasib</a:t>
            </a:r>
            <a:r>
              <a:rPr lang="en-US" dirty="0"/>
              <a:t> vs pembrolizumab + chemo</a:t>
            </a:r>
          </a:p>
          <a:p>
            <a:endParaRPr lang="en-US" dirty="0"/>
          </a:p>
          <a:p>
            <a:r>
              <a:rPr lang="en-US" dirty="0"/>
              <a:t>Krystal 7 – pembrolizumab + Adagrasib vs pembrolizumab in PD-L1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≥50%</a:t>
            </a:r>
          </a:p>
          <a:p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nray 01 – pembrolizumab +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lomorasib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s pembrolizumab </a:t>
            </a:r>
            <a:r>
              <a:rPr lang="en-US" dirty="0"/>
              <a:t>in PD-L1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≥50% and chemotherapy/pembrolizumab +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lomorasib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s chemotherapy/pembrolizumab in all PD-L1 levels</a:t>
            </a:r>
          </a:p>
          <a:p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F7C4DF-4DF7-16EA-0F86-A132C86F5C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9D9C94-3929-2947-0F3A-171E8C6CD62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3845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22CB4CB-3164-8B76-0A4E-928A61ED5ADC}"/>
              </a:ext>
            </a:extLst>
          </p:cNvPr>
          <p:cNvSpPr txBox="1"/>
          <p:nvPr/>
        </p:nvSpPr>
        <p:spPr>
          <a:xfrm>
            <a:off x="276451" y="1499515"/>
            <a:ext cx="119155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0" i="0" dirty="0">
                <a:solidFill>
                  <a:srgbClr val="000000"/>
                </a:solidFill>
                <a:effectLst/>
                <a:latin typeface="+mj-lt"/>
              </a:rPr>
              <a:t>“We really need to do the studies and not assume results.” </a:t>
            </a:r>
            <a:endParaRPr lang="en-US" sz="3600" dirty="0">
              <a:latin typeface="+mj-lt"/>
            </a:endParaRPr>
          </a:p>
        </p:txBody>
      </p:sp>
      <p:pic>
        <p:nvPicPr>
          <p:cNvPr id="8" name="Picture 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70BB156-779F-B85A-2C9F-D51929FC90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2885" y="3400586"/>
            <a:ext cx="6491349" cy="180315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70FF6F0-626F-08DC-CF66-8CF4B250AB4D}"/>
              </a:ext>
            </a:extLst>
          </p:cNvPr>
          <p:cNvSpPr txBox="1"/>
          <p:nvPr/>
        </p:nvSpPr>
        <p:spPr>
          <a:xfrm>
            <a:off x="4234543" y="2732501"/>
            <a:ext cx="6127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/>
              <a:t>--</a:t>
            </a:r>
            <a:r>
              <a:rPr lang="en-US" b="0" i="0" dirty="0">
                <a:solidFill>
                  <a:srgbClr val="000000"/>
                </a:solidFill>
                <a:effectLst/>
                <a:latin typeface="ui-sans-serif"/>
              </a:rPr>
              <a:t>Jennifer W. Carlisle, MD, of Emory University’s Winship Canc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71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56F573-3F09-960A-E42B-E9D186C00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should we combine drug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5EDA0C-5E5F-CBE6-1E6F-EF55E99FF9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2C30BD-E41C-BA57-FE96-C58315CFDB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277079"/>
            <a:ext cx="11160125" cy="2157514"/>
          </a:xfrm>
        </p:spPr>
        <p:txBody>
          <a:bodyPr/>
          <a:lstStyle/>
          <a:p>
            <a:r>
              <a:rPr lang="en-US" sz="3200" dirty="0"/>
              <a:t>- pre-clinical evidence to support greater efficacy</a:t>
            </a:r>
          </a:p>
          <a:p>
            <a:r>
              <a:rPr lang="en-US" sz="3200" dirty="0"/>
              <a:t>- safe when given in combination</a:t>
            </a:r>
          </a:p>
          <a:p>
            <a:r>
              <a:rPr lang="en-US" sz="3200" dirty="0"/>
              <a:t>- there is clinical evidence of synergy </a:t>
            </a:r>
          </a:p>
          <a:p>
            <a:endParaRPr lang="en-US" sz="3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6A03F8-F103-6A69-6DA1-597DD33ACF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9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89C907E-2ECA-4CE6-8E04-B9A3E38B3B8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4498"/>
          <a:stretch/>
        </p:blipFill>
        <p:spPr>
          <a:xfrm>
            <a:off x="404132" y="412977"/>
            <a:ext cx="10687050" cy="15533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1B6846B-BB89-44F1-9E8A-279A3D7188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132" y="2071845"/>
            <a:ext cx="3939268" cy="400384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63BD9FB-F7D0-B54A-A652-78551D55C2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5435" y="2582424"/>
            <a:ext cx="6298523" cy="221817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DAA58B8-6BFB-4075-9445-25D94CA7A770}"/>
              </a:ext>
            </a:extLst>
          </p:cNvPr>
          <p:cNvSpPr txBox="1"/>
          <p:nvPr/>
        </p:nvSpPr>
        <p:spPr>
          <a:xfrm>
            <a:off x="8363727" y="6075691"/>
            <a:ext cx="2625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5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oulidis et al, NEJM 202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2D09FB-B568-4B7A-89B7-F0710E72E0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0159" y="4913335"/>
            <a:ext cx="6507709" cy="956369"/>
          </a:xfrm>
          <a:prstGeom prst="rect">
            <a:avLst/>
          </a:prstGeom>
          <a:ln w="158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352285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248734-659C-7412-BD62-055861F9EE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FBA748-EB88-39F2-94A0-DB2EFBFA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torasib + Immune Checkpoint Inhibitor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9EF0EB-A03B-4AAA-A934-D04AFE874E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903663" y="6440814"/>
            <a:ext cx="7772400" cy="245223"/>
          </a:xfrm>
        </p:spPr>
        <p:txBody>
          <a:bodyPr/>
          <a:lstStyle/>
          <a:p>
            <a:r>
              <a:rPr lang="en-US" dirty="0"/>
              <a:t>Modified from Li et al, WCLC 2022, Vienn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6276933-E388-1B9C-40BE-FB3B20D3E8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2490" r="21443"/>
          <a:stretch/>
        </p:blipFill>
        <p:spPr>
          <a:xfrm>
            <a:off x="1866782" y="1690916"/>
            <a:ext cx="5062961" cy="433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850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E66486-DD36-79FA-2AD4-2990B840AB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EED27F5-434B-E19F-FCA0-86AF1A766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23729"/>
            <a:ext cx="11160125" cy="387798"/>
          </a:xfrm>
        </p:spPr>
        <p:txBody>
          <a:bodyPr/>
          <a:lstStyle/>
          <a:p>
            <a:r>
              <a:rPr lang="en-US" sz="2800" dirty="0" err="1"/>
              <a:t>Sotorasib</a:t>
            </a:r>
            <a:r>
              <a:rPr lang="en-US" sz="2800" dirty="0"/>
              <a:t> + Immune Checkpoint Inhibitor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D102FA-BBA3-8209-08C4-3BEF4F951B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903663" y="6440814"/>
            <a:ext cx="7772400" cy="245223"/>
          </a:xfrm>
        </p:spPr>
        <p:txBody>
          <a:bodyPr/>
          <a:lstStyle/>
          <a:p>
            <a:r>
              <a:rPr lang="en-US" dirty="0"/>
              <a:t>Modified from Li et al, WCLC 2022, Vienn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5B8A128-9352-00F6-46DC-AFC96836326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2490" r="21443"/>
          <a:stretch/>
        </p:blipFill>
        <p:spPr>
          <a:xfrm>
            <a:off x="319213" y="1608854"/>
            <a:ext cx="5062961" cy="433463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501C5E9-298B-EED1-6AF5-ABE6E2B85685}"/>
              </a:ext>
            </a:extLst>
          </p:cNvPr>
          <p:cNvCxnSpPr/>
          <p:nvPr/>
        </p:nvCxnSpPr>
        <p:spPr>
          <a:xfrm flipH="1">
            <a:off x="773723" y="328246"/>
            <a:ext cx="4431323" cy="5978769"/>
          </a:xfrm>
          <a:prstGeom prst="line">
            <a:avLst/>
          </a:prstGeom>
          <a:ln w="762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2D85390-0F3E-6F9E-959F-375D3787C889}"/>
              </a:ext>
            </a:extLst>
          </p:cNvPr>
          <p:cNvCxnSpPr>
            <a:cxnSpLocks/>
          </p:cNvCxnSpPr>
          <p:nvPr/>
        </p:nvCxnSpPr>
        <p:spPr>
          <a:xfrm>
            <a:off x="926123" y="480646"/>
            <a:ext cx="4431323" cy="5978769"/>
          </a:xfrm>
          <a:prstGeom prst="line">
            <a:avLst/>
          </a:prstGeom>
          <a:ln w="762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E3366B8-40EA-309F-A2FC-E8B3FECC00BC}"/>
              </a:ext>
            </a:extLst>
          </p:cNvPr>
          <p:cNvSpPr txBox="1"/>
          <p:nvPr/>
        </p:nvSpPr>
        <p:spPr>
          <a:xfrm>
            <a:off x="7553159" y="1419494"/>
            <a:ext cx="25747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800" b="1" dirty="0" err="1"/>
              <a:t>CodeBreak</a:t>
            </a:r>
            <a:r>
              <a:rPr lang="en-US" sz="2800" b="1" dirty="0"/>
              <a:t> 20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9B6EE4-6054-F4EF-60B8-56C6E98F8372}"/>
              </a:ext>
            </a:extLst>
          </p:cNvPr>
          <p:cNvSpPr txBox="1"/>
          <p:nvPr/>
        </p:nvSpPr>
        <p:spPr>
          <a:xfrm>
            <a:off x="6200466" y="3119086"/>
            <a:ext cx="1922129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Met NSCLC </a:t>
            </a:r>
          </a:p>
          <a:p>
            <a:pPr algn="ctr"/>
            <a:r>
              <a:rPr lang="en-US" sz="2000" dirty="0"/>
              <a:t>KRAS G12C</a:t>
            </a:r>
          </a:p>
          <a:p>
            <a:pPr algn="ctr"/>
            <a:r>
              <a:rPr lang="en-US" sz="2000" dirty="0"/>
              <a:t>No prior therapy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B7F4979-96F8-83E7-6165-16A1D12BAB53}"/>
              </a:ext>
            </a:extLst>
          </p:cNvPr>
          <p:cNvCxnSpPr>
            <a:cxnSpLocks/>
          </p:cNvCxnSpPr>
          <p:nvPr/>
        </p:nvCxnSpPr>
        <p:spPr>
          <a:xfrm flipV="1">
            <a:off x="8132000" y="3025156"/>
            <a:ext cx="888452" cy="584947"/>
          </a:xfrm>
          <a:prstGeom prst="straightConnector1">
            <a:avLst/>
          </a:prstGeom>
          <a:ln w="38100">
            <a:solidFill>
              <a:srgbClr val="081A2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1466BFF-101B-B9A9-F535-0B01C5920FC5}"/>
              </a:ext>
            </a:extLst>
          </p:cNvPr>
          <p:cNvCxnSpPr>
            <a:cxnSpLocks/>
          </p:cNvCxnSpPr>
          <p:nvPr/>
        </p:nvCxnSpPr>
        <p:spPr>
          <a:xfrm>
            <a:off x="8106385" y="3595969"/>
            <a:ext cx="974821" cy="538780"/>
          </a:xfrm>
          <a:prstGeom prst="straightConnector1">
            <a:avLst/>
          </a:prstGeom>
          <a:ln w="38100">
            <a:solidFill>
              <a:srgbClr val="081A2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0B3E6BD-369E-509B-48EE-DD26F101740B}"/>
              </a:ext>
            </a:extLst>
          </p:cNvPr>
          <p:cNvSpPr txBox="1"/>
          <p:nvPr/>
        </p:nvSpPr>
        <p:spPr>
          <a:xfrm>
            <a:off x="9081205" y="2861399"/>
            <a:ext cx="147981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 err="1"/>
              <a:t>sotorasib</a:t>
            </a:r>
            <a:endParaRPr lang="en-US" sz="2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1D95E8-7054-C05F-0D3E-88DC5C94BF05}"/>
              </a:ext>
            </a:extLst>
          </p:cNvPr>
          <p:cNvSpPr txBox="1"/>
          <p:nvPr/>
        </p:nvSpPr>
        <p:spPr>
          <a:xfrm>
            <a:off x="9081205" y="3662458"/>
            <a:ext cx="1479810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 err="1"/>
              <a:t>Pembro</a:t>
            </a:r>
            <a:endParaRPr lang="en-US" sz="2000" dirty="0"/>
          </a:p>
          <a:p>
            <a:pPr algn="ctr"/>
            <a:r>
              <a:rPr lang="en-US" sz="2000" dirty="0"/>
              <a:t>+</a:t>
            </a:r>
          </a:p>
          <a:p>
            <a:pPr algn="ctr"/>
            <a:r>
              <a:rPr lang="en-US" sz="2000" dirty="0"/>
              <a:t>Chemo</a:t>
            </a:r>
          </a:p>
        </p:txBody>
      </p:sp>
    </p:spTree>
    <p:extLst>
      <p:ext uri="{BB962C8B-B14F-4D97-AF65-F5344CB8AC3E}">
        <p14:creationId xmlns:p14="http://schemas.microsoft.com/office/powerpoint/2010/main" val="25934890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8F56787-E377-4A9E-AD30-BEA8D7FAEF44}"/>
              </a:ext>
            </a:extLst>
          </p:cNvPr>
          <p:cNvSpPr txBox="1"/>
          <p:nvPr/>
        </p:nvSpPr>
        <p:spPr>
          <a:xfrm>
            <a:off x="3200713" y="6259285"/>
            <a:ext cx="8305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änne PA et al. N Engl J Med 2022;387(2):120-31.</a:t>
            </a:r>
            <a:endParaRPr lang="en-US" sz="2000">
              <a:solidFill>
                <a:srgbClr val="002569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F816FBAB-A4C0-4842-8E12-53E495ABD5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" t="2029" r="757" b="70555"/>
          <a:stretch/>
        </p:blipFill>
        <p:spPr bwMode="auto">
          <a:xfrm>
            <a:off x="4484215" y="2163031"/>
            <a:ext cx="7645056" cy="2794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3256515-71AF-4905-8376-05681E76CC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572"/>
            <a:ext cx="12192000" cy="17000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74F44BC-4AAE-427C-9192-F8891E41DA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320" y="2078635"/>
            <a:ext cx="4114973" cy="32486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E58720-7CCC-4213-842B-8DB3283DE2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6754" y="4976335"/>
            <a:ext cx="6767929" cy="9132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0037245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1070ED-39C7-F98B-A6F5-165884214BB0}"/>
              </a:ext>
            </a:extLst>
          </p:cNvPr>
          <p:cNvSpPr txBox="1">
            <a:spLocks/>
          </p:cNvSpPr>
          <p:nvPr/>
        </p:nvSpPr>
        <p:spPr>
          <a:xfrm>
            <a:off x="239486" y="310183"/>
            <a:ext cx="11160125" cy="4431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mbining Adagrasib + Pembrolizumab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ADE73D-6B14-D09A-F5BB-7537A946D63D}"/>
              </a:ext>
            </a:extLst>
          </p:cNvPr>
          <p:cNvSpPr txBox="1"/>
          <p:nvPr/>
        </p:nvSpPr>
        <p:spPr>
          <a:xfrm>
            <a:off x="9463884" y="6547817"/>
            <a:ext cx="2488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/>
              <a:t>Janne et al, ASCO 2025</a:t>
            </a:r>
          </a:p>
        </p:txBody>
      </p:sp>
      <p:pic>
        <p:nvPicPr>
          <p:cNvPr id="10" name="Picture 9" descr="A close-up of a medical information&#10;&#10;AI-generated content may be incorrect.">
            <a:extLst>
              <a:ext uri="{FF2B5EF4-FFF2-40B4-BE49-F238E27FC236}">
                <a16:creationId xmlns:a16="http://schemas.microsoft.com/office/drawing/2014/main" id="{F7666743-F422-978E-55E2-52455B5259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803" y="1060651"/>
            <a:ext cx="11031489" cy="5487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9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8E4F419D-FC60-FADA-9CFE-81A338F3D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aph of a number of people&#10;&#10;AI-generated content may be incorrect.">
            <a:extLst>
              <a:ext uri="{FF2B5EF4-FFF2-40B4-BE49-F238E27FC236}">
                <a16:creationId xmlns:a16="http://schemas.microsoft.com/office/drawing/2014/main" id="{09F2E2E8-C9FE-EF04-622C-16D9B2B3C2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486" y="871893"/>
            <a:ext cx="11495314" cy="5675924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767144A-B99D-0CE2-D665-6FDF4EF314CE}"/>
              </a:ext>
            </a:extLst>
          </p:cNvPr>
          <p:cNvSpPr txBox="1">
            <a:spLocks/>
          </p:cNvSpPr>
          <p:nvPr/>
        </p:nvSpPr>
        <p:spPr>
          <a:xfrm>
            <a:off x="239486" y="310183"/>
            <a:ext cx="11160125" cy="4431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Response Rate of 1</a:t>
            </a:r>
            <a:r>
              <a:rPr lang="en-US" baseline="30000" dirty="0"/>
              <a:t>st</a:t>
            </a:r>
            <a:r>
              <a:rPr lang="en-US" dirty="0"/>
              <a:t> line Adagrasib + Pembrolizumab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C3E8BCB-0E08-CF9E-DA9C-2562F1F9FDE5}"/>
              </a:ext>
            </a:extLst>
          </p:cNvPr>
          <p:cNvSpPr txBox="1"/>
          <p:nvPr/>
        </p:nvSpPr>
        <p:spPr>
          <a:xfrm>
            <a:off x="9463884" y="6547817"/>
            <a:ext cx="2488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/>
              <a:t>Janne et al, ASCO 202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011A29-697A-4C20-6A23-FC20B2CFB758}"/>
              </a:ext>
            </a:extLst>
          </p:cNvPr>
          <p:cNvSpPr/>
          <p:nvPr/>
        </p:nvSpPr>
        <p:spPr>
          <a:xfrm>
            <a:off x="1643743" y="5138057"/>
            <a:ext cx="8371114" cy="685800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5069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AE4370A-FD72-993A-83E7-B25651F99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77BBC1C-D628-083B-26B8-0C52F8C0A3DB}"/>
              </a:ext>
            </a:extLst>
          </p:cNvPr>
          <p:cNvSpPr txBox="1">
            <a:spLocks/>
          </p:cNvSpPr>
          <p:nvPr/>
        </p:nvSpPr>
        <p:spPr>
          <a:xfrm>
            <a:off x="239486" y="310183"/>
            <a:ext cx="11160125" cy="4431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FS of 1</a:t>
            </a:r>
            <a:r>
              <a:rPr lang="en-US" baseline="30000" dirty="0"/>
              <a:t>st</a:t>
            </a:r>
            <a:r>
              <a:rPr lang="en-US" dirty="0"/>
              <a:t> line Adagrasib + Pembrolizumab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3AF492-8B1B-705B-2145-1A39C2259420}"/>
              </a:ext>
            </a:extLst>
          </p:cNvPr>
          <p:cNvSpPr txBox="1"/>
          <p:nvPr/>
        </p:nvSpPr>
        <p:spPr>
          <a:xfrm>
            <a:off x="9463884" y="6547817"/>
            <a:ext cx="2488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/>
              <a:t>Janne et al, ASCO 2025</a:t>
            </a:r>
          </a:p>
        </p:txBody>
      </p:sp>
      <p:pic>
        <p:nvPicPr>
          <p:cNvPr id="7" name="Picture 6" descr="A graph of a patient&#10;&#10;AI-generated content may be incorrect.">
            <a:extLst>
              <a:ext uri="{FF2B5EF4-FFF2-40B4-BE49-F238E27FC236}">
                <a16:creationId xmlns:a16="http://schemas.microsoft.com/office/drawing/2014/main" id="{72BC70AF-9EBB-FAEC-E993-99C9E27829B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9328" b="21194"/>
          <a:stretch/>
        </p:blipFill>
        <p:spPr>
          <a:xfrm>
            <a:off x="1637883" y="1031631"/>
            <a:ext cx="7514548" cy="568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21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G / Nexus Global Group">
  <a:themeElements>
    <a:clrScheme name="Custom 57">
      <a:dk1>
        <a:srgbClr val="404040"/>
      </a:dk1>
      <a:lt1>
        <a:srgbClr val="FFFFFF"/>
      </a:lt1>
      <a:dk2>
        <a:srgbClr val="091C29"/>
      </a:dk2>
      <a:lt2>
        <a:srgbClr val="6F7271"/>
      </a:lt2>
      <a:accent1>
        <a:srgbClr val="1691C6"/>
      </a:accent1>
      <a:accent2>
        <a:srgbClr val="0099B0"/>
      </a:accent2>
      <a:accent3>
        <a:srgbClr val="006299"/>
      </a:accent3>
      <a:accent4>
        <a:srgbClr val="00B2E3"/>
      </a:accent4>
      <a:accent5>
        <a:srgbClr val="655DC6"/>
      </a:accent5>
      <a:accent6>
        <a:srgbClr val="313131"/>
      </a:accent6>
      <a:hlink>
        <a:srgbClr val="0191B6"/>
      </a:hlink>
      <a:folHlink>
        <a:srgbClr val="808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tIns="36000" bIns="36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 name="VG Red">
      <a:srgbClr val="EA0029"/>
    </a:custClr>
    <a:custClr name="VG Orange">
      <a:srgbClr val="F88D2A"/>
    </a:custClr>
    <a:custClr name="CS Teal">
      <a:srgbClr val="0099B0"/>
    </a:custClr>
    <a:custClr name="CS Purple">
      <a:srgbClr val="715091"/>
    </a:custClr>
    <a:custClr name="CS Aqua">
      <a:srgbClr val="10CFC9"/>
    </a:custClr>
    <a:custClr name="CS Tan">
      <a:srgbClr val="CA8342"/>
    </a:custClr>
    <a:custClr name="SCS Blue">
      <a:srgbClr val="3D6BB2"/>
    </a:custClr>
    <a:custClr name="60% SCS Blue">
      <a:srgbClr val="8BA7D1"/>
    </a:custClr>
    <a:custClr name="SCS/I Black">
      <a:srgbClr val="231F20"/>
    </a:custClr>
    <a:custClr name="BL D Grey">
      <a:srgbClr val="58595B"/>
    </a:custClr>
    <a:custClr name="NGG Teal">
      <a:srgbClr val="009FC2"/>
    </a:custClr>
    <a:custClr name="NGG D Red">
      <a:srgbClr val="BF1E2D"/>
    </a:custClr>
    <a:custClr name="NGG D Teal">
      <a:srgbClr val="00758D"/>
    </a:custClr>
    <a:custClr name="NGGS Teal">
      <a:srgbClr val="008DA8"/>
    </a:custClr>
    <a:custClr name="NGGS Aqua">
      <a:srgbClr val="00BED6"/>
    </a:custClr>
    <a:custClr name="T9 L Grey">
      <a:srgbClr val="BCBEC0"/>
    </a:custClr>
    <a:custClr name="T9 Red">
      <a:srgbClr val="EE4137"/>
    </a:custClr>
    <a:custClr name="BC Green">
      <a:srgbClr val="AFBC21"/>
    </a:custClr>
    <a:custClr name="BC Orange">
      <a:srgbClr val="F7941D"/>
    </a:custClr>
    <a:custClr name="BL Green">
      <a:srgbClr val="B7D433"/>
    </a:custClr>
    <a:custClr name="10% CS Purple(50%)/CS Teal">
      <a:srgbClr val="ECF1F6"/>
    </a:custClr>
    <a:custClr name="20% CS Purple(50%)/CS Teal">
      <a:srgbClr val="D7E3EC"/>
    </a:custClr>
    <a:custClr name="40% CS Purple(50%)/CS Teal">
      <a:srgbClr val="B0C7D9"/>
    </a:custClr>
    <a:custClr name="60% CS Purple(50%)/CS Teal">
      <a:srgbClr val="88ACC7"/>
    </a:custClr>
    <a:custClr name="80% CS Purple(50%)/CS Teal">
      <a:srgbClr val="6190B4"/>
    </a:custClr>
    <a:custClr name="CS Purple(50%)/CS Teal">
      <a:srgbClr val="3974A1"/>
    </a:custClr>
    <a:custClr name="10% VG Bright Blue">
      <a:srgbClr val="F0EFF9"/>
    </a:custClr>
    <a:custClr name="20% VG Bright Blue">
      <a:srgbClr val="E0DFF4"/>
    </a:custClr>
    <a:custClr name="40% VG Bright Blue">
      <a:srgbClr val="C1BEE8"/>
    </a:custClr>
    <a:custClr name="60% VG Bright Blue">
      <a:srgbClr val="A39EDD"/>
    </a:custClr>
    <a:custClr name="10% CS Teal">
      <a:srgbClr val="E6F5F7"/>
    </a:custClr>
    <a:custClr name="20% CS Teal">
      <a:srgbClr val="CCEBEF"/>
    </a:custClr>
    <a:custClr name="40% CS Teal">
      <a:srgbClr val="99D6DF"/>
    </a:custClr>
    <a:custClr name="60% CS Teal">
      <a:srgbClr val="66C2D0"/>
    </a:custClr>
    <a:custClr name="80% CS Teal">
      <a:srgbClr val="33ADC0"/>
    </a:custClr>
    <a:custClr name="10% VG S Blue/Nexus GG Teal">
      <a:srgbClr val="E6F6F9"/>
    </a:custClr>
    <a:custClr name="20% VG S Blue/Nexus GG Teal">
      <a:srgbClr val="CCECF3"/>
    </a:custClr>
    <a:custClr name="40% VG S Blue/Nexus GG Teal">
      <a:srgbClr val="99D9E7"/>
    </a:custClr>
    <a:custClr name="60% VG S Blue/Nexus GG Teal">
      <a:srgbClr val="66C5DA"/>
    </a:custClr>
    <a:custClr name="80% VG S Blue/Nexus GG Teal">
      <a:srgbClr val="33B2CE"/>
    </a:custClr>
    <a:custClr name="10% CS Purple/CS Teal">
      <a:srgbClr val="EEF0F5"/>
    </a:custClr>
    <a:custClr name="20% CS Purple/CS Teal">
      <a:srgbClr val="DDE0EB"/>
    </a:custClr>
    <a:custClr name="40% CS Purple/CS Teal">
      <a:srgbClr val="BBC0D6"/>
    </a:custClr>
    <a:custClr name="60% CS Purple/CS Teal">
      <a:srgbClr val="99A1C2"/>
    </a:custClr>
    <a:custClr name="80% CS Purple/CS Teal">
      <a:srgbClr val="7781AD"/>
    </a:custClr>
    <a:custClr name="10% VG Grey">
      <a:srgbClr val="F1F1F1"/>
    </a:custClr>
    <a:custClr name="20% VG Grey">
      <a:srgbClr val="E2E3E3"/>
    </a:custClr>
    <a:custClr name="40% VG Grey">
      <a:srgbClr val="C5C7C6"/>
    </a:custClr>
    <a:custClr name="60% VG Grey">
      <a:srgbClr val="A9AAAA"/>
    </a:custClr>
    <a:custClr name="80% VG Grey">
      <a:srgbClr val="8C8E8D"/>
    </a:custClr>
  </a:custClrLst>
  <a:extLst>
    <a:ext uri="{05A4C25C-085E-4340-85A3-A5531E510DB2}">
      <thm15:themeFamily xmlns:thm15="http://schemas.microsoft.com/office/thememl/2012/main" name="Office Theme" id="{DD9DEFA5-A863-4856-97B2-FC8487888A7C}" vid="{8328A468-BF6D-41E5-9A90-410DDDDF5C44}"/>
    </a:ext>
  </a:extLst>
</a:theme>
</file>

<file path=ppt/theme/theme2.xml><?xml version="1.0" encoding="utf-8"?>
<a:theme xmlns:a="http://schemas.openxmlformats.org/drawingml/2006/main" name="Office Theme">
  <a:themeElements>
    <a:clrScheme name="Vaniam Group">
      <a:dk1>
        <a:srgbClr val="404040"/>
      </a:dk1>
      <a:lt1>
        <a:sysClr val="window" lastClr="FFFFFF"/>
      </a:lt1>
      <a:dk2>
        <a:srgbClr val="009FC2"/>
      </a:dk2>
      <a:lt2>
        <a:srgbClr val="6F7271"/>
      </a:lt2>
      <a:accent1>
        <a:srgbClr val="49B5C7"/>
      </a:accent1>
      <a:accent2>
        <a:srgbClr val="0099B0"/>
      </a:accent2>
      <a:accent3>
        <a:srgbClr val="556299"/>
      </a:accent3>
      <a:accent4>
        <a:srgbClr val="00B2E3"/>
      </a:accent4>
      <a:accent5>
        <a:srgbClr val="655DC6"/>
      </a:accent5>
      <a:accent6>
        <a:srgbClr val="76BC21"/>
      </a:accent6>
      <a:hlink>
        <a:srgbClr val="0191B6"/>
      </a:hlink>
      <a:folHlink>
        <a:srgbClr val="808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aniam Group">
      <a:dk1>
        <a:srgbClr val="404040"/>
      </a:dk1>
      <a:lt1>
        <a:sysClr val="window" lastClr="FFFFFF"/>
      </a:lt1>
      <a:dk2>
        <a:srgbClr val="009FC2"/>
      </a:dk2>
      <a:lt2>
        <a:srgbClr val="6F7271"/>
      </a:lt2>
      <a:accent1>
        <a:srgbClr val="49B5C7"/>
      </a:accent1>
      <a:accent2>
        <a:srgbClr val="0099B0"/>
      </a:accent2>
      <a:accent3>
        <a:srgbClr val="556299"/>
      </a:accent3>
      <a:accent4>
        <a:srgbClr val="00B2E3"/>
      </a:accent4>
      <a:accent5>
        <a:srgbClr val="655DC6"/>
      </a:accent5>
      <a:accent6>
        <a:srgbClr val="76BC21"/>
      </a:accent6>
      <a:hlink>
        <a:srgbClr val="0191B6"/>
      </a:hlink>
      <a:folHlink>
        <a:srgbClr val="808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136</TotalTime>
  <Words>422</Words>
  <Application>Microsoft Office PowerPoint</Application>
  <PresentationFormat>Widescreen</PresentationFormat>
  <Paragraphs>69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Calibri</vt:lpstr>
      <vt:lpstr>Corbel</vt:lpstr>
      <vt:lpstr>Franklin Gothic Book</vt:lpstr>
      <vt:lpstr>Franklin Gothic Medium</vt:lpstr>
      <vt:lpstr>ui-sans-serif</vt:lpstr>
      <vt:lpstr>Wingdings</vt:lpstr>
      <vt:lpstr>VG / Nexus Global Group</vt:lpstr>
      <vt:lpstr>think-cell Slide</vt:lpstr>
      <vt:lpstr> KRAS G12C Inhibitors Should Not Be Given With Immunotherapy</vt:lpstr>
      <vt:lpstr>When should we combine drugs?</vt:lpstr>
      <vt:lpstr>PowerPoint Presentation</vt:lpstr>
      <vt:lpstr>Sotorasib + Immune Checkpoint Inhibitors</vt:lpstr>
      <vt:lpstr>Sotorasib + Immune Checkpoint Inhibi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fficacy in KRAS G12Ci-naïve Solid Tumors &lt;br /&gt;(Non-CRC and CRC)</vt:lpstr>
      <vt:lpstr>Efficacy in KRAS G12Ci-naïve Solid Tumors &lt;br /&gt;(Non-CRC and CRC)</vt:lpstr>
      <vt:lpstr>PowerPoint Presentation</vt:lpstr>
      <vt:lpstr>PowerPoint Presentation</vt:lpstr>
      <vt:lpstr>Debate Conclusions</vt:lpstr>
      <vt:lpstr>Some ongoing trials…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cca Smith</dc:creator>
  <cp:lastModifiedBy>Riely, Gregory</cp:lastModifiedBy>
  <cp:revision>319</cp:revision>
  <dcterms:created xsi:type="dcterms:W3CDTF">2021-12-06T09:29:56Z</dcterms:created>
  <dcterms:modified xsi:type="dcterms:W3CDTF">2025-10-23T17:19:01Z</dcterms:modified>
</cp:coreProperties>
</file>